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4124" r:id="rId1"/>
    <p:sldMasterId id="2147484125" r:id="rId2"/>
    <p:sldMasterId id="2147484126" r:id="rId3"/>
    <p:sldMasterId id="2147484127" r:id="rId4"/>
    <p:sldMasterId id="2147484135" r:id="rId5"/>
    <p:sldMasterId id="2147484129" r:id="rId6"/>
    <p:sldMasterId id="2147483754" r:id="rId7"/>
    <p:sldMasterId id="2147484132" r:id="rId8"/>
    <p:sldMasterId id="2147484134" r:id="rId9"/>
    <p:sldMasterId id="2147484131" r:id="rId10"/>
    <p:sldMasterId id="2147484123" r:id="rId11"/>
    <p:sldMasterId id="2147484130" r:id="rId12"/>
    <p:sldMasterId id="2147484171" r:id="rId13"/>
  </p:sldMasterIdLst>
  <p:notesMasterIdLst>
    <p:notesMasterId r:id="rId16"/>
  </p:notesMasterIdLst>
  <p:handoutMasterIdLst>
    <p:handoutMasterId r:id="rId17"/>
  </p:handoutMasterIdLst>
  <p:sldIdLst>
    <p:sldId id="2147483511" r:id="rId14"/>
    <p:sldId id="269" r:id="rId15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ummary" id="{50FA6E7E-D763-45CA-AC18-37A6CB77AFDA}">
          <p14:sldIdLst>
            <p14:sldId id="2147483511"/>
          </p14:sldIdLst>
        </p14:section>
        <p14:section name="Detailed" id="{A6E82717-156A-4477-A8B1-E8EA06C22673}">
          <p14:sldIdLst>
            <p14:sldId id="269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3140" userDrawn="1">
          <p15:clr>
            <a:srgbClr val="747775"/>
          </p15:clr>
        </p15:guide>
        <p15:guide id="6" pos="862" userDrawn="1">
          <p15:clr>
            <a:srgbClr val="A4A3A4"/>
          </p15:clr>
        </p15:guide>
        <p15:guide id="7" pos="4286" userDrawn="1">
          <p15:clr>
            <a:srgbClr val="A4A3A4"/>
          </p15:clr>
        </p15:guide>
        <p15:guide id="8" orient="horz" pos="1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3D1579-128F-1163-BA47-2EA9B3A54F82}" name="Vic Clark" initials="VC" userId="f3c796a87569a343" providerId="Windows Live"/>
  <p188:author id="{97F8DF80-FFB6-5B93-ED64-79991D7307B5}" name="Zoe Aresti" initials="ZA" userId="S::Zoe.Aresti@dcm.co.uk::7d2923b8-5f08-47a4-9b8c-89d7a1f501d2" providerId="AD"/>
  <p188:author id="{1960D9B6-2783-DDAC-EDCC-7487AE773C58}" name="Michael Tull" initials="MT" userId="S::michtull@dcm.co.uk::9b84a4a9-44d8-4d28-b1a8-900a431bc4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B3F8"/>
    <a:srgbClr val="E52C40"/>
    <a:srgbClr val="1C1833"/>
    <a:srgbClr val="1B1933"/>
    <a:srgbClr val="F6F7F9"/>
    <a:srgbClr val="E8E3F9"/>
    <a:srgbClr val="F6F7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9BCC837-11A0-4073-A553-A0D4059C026A}">
  <a:tblStyle styleId="{D9BCC837-11A0-4073-A553-A0D4059C026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82E59E1-063A-467B-9F60-41AE85AF1EC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7" autoAdjust="0"/>
    <p:restoredTop sz="93525" autoAdjust="0"/>
  </p:normalViewPr>
  <p:slideViewPr>
    <p:cSldViewPr snapToGrid="0">
      <p:cViewPr varScale="1">
        <p:scale>
          <a:sx n="147" d="100"/>
          <a:sy n="147" d="100"/>
        </p:scale>
        <p:origin x="570" y="126"/>
      </p:cViewPr>
      <p:guideLst>
        <p:guide orient="horz" pos="3140"/>
        <p:guide pos="862"/>
        <p:guide pos="4286"/>
        <p:guide orient="horz" pos="14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32" d="100"/>
          <a:sy n="132" d="100"/>
        </p:scale>
        <p:origin x="45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microsoft.com/office/2018/10/relationships/authors" Target="authors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01A08790-896D-4E85-9CF8-A527DE320AED}"/>
    <pc:docChg chg="undo custSel modSld">
      <pc:chgData name="Michael Tull" userId="9b84a4a9-44d8-4d28-b1a8-900a431bc43d" providerId="ADAL" clId="{01A08790-896D-4E85-9CF8-A527DE320AED}" dt="2025-09-01T15:11:33.723" v="243" actId="13926"/>
      <pc:docMkLst>
        <pc:docMk/>
      </pc:docMkLst>
      <pc:sldChg chg="addSp delSp modSp mod">
        <pc:chgData name="Michael Tull" userId="9b84a4a9-44d8-4d28-b1a8-900a431bc43d" providerId="ADAL" clId="{01A08790-896D-4E85-9CF8-A527DE320AED}" dt="2025-09-01T15:11:33.723" v="243" actId="13926"/>
        <pc:sldMkLst>
          <pc:docMk/>
          <pc:sldMk cId="0" sldId="269"/>
        </pc:sldMkLst>
        <pc:spChg chg="del mod">
          <ac:chgData name="Michael Tull" userId="9b84a4a9-44d8-4d28-b1a8-900a431bc43d" providerId="ADAL" clId="{01A08790-896D-4E85-9CF8-A527DE320AED}" dt="2025-09-01T15:09:55.427" v="240" actId="478"/>
          <ac:spMkLst>
            <pc:docMk/>
            <pc:sldMk cId="0" sldId="269"/>
            <ac:spMk id="11" creationId="{6D2C42FE-F9F5-B55F-DA88-6D47343F5C2C}"/>
          </ac:spMkLst>
        </pc:spChg>
        <pc:spChg chg="add mod">
          <ac:chgData name="Michael Tull" userId="9b84a4a9-44d8-4d28-b1a8-900a431bc43d" providerId="ADAL" clId="{01A08790-896D-4E85-9CF8-A527DE320AED}" dt="2025-09-01T15:10:16.150" v="242"/>
          <ac:spMkLst>
            <pc:docMk/>
            <pc:sldMk cId="0" sldId="269"/>
            <ac:spMk id="13" creationId="{058A4AFC-7742-43B3-800F-AE0AD39272F5}"/>
          </ac:spMkLst>
        </pc:spChg>
        <pc:spChg chg="mod">
          <ac:chgData name="Michael Tull" userId="9b84a4a9-44d8-4d28-b1a8-900a431bc43d" providerId="ADAL" clId="{01A08790-896D-4E85-9CF8-A527DE320AED}" dt="2025-08-31T20:10:58.691" v="121" actId="1410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01A08790-896D-4E85-9CF8-A527DE320AED}" dt="2025-08-31T20:11:31.784" v="139" actId="20577"/>
          <ac:spMkLst>
            <pc:docMk/>
            <pc:sldMk cId="0" sldId="269"/>
            <ac:spMk id="25" creationId="{4CA43349-C0D2-4A85-B600-5FF18BDFB333}"/>
          </ac:spMkLst>
        </pc:spChg>
        <pc:graphicFrameChg chg="add mod modGraphic">
          <ac:chgData name="Michael Tull" userId="9b84a4a9-44d8-4d28-b1a8-900a431bc43d" providerId="ADAL" clId="{01A08790-896D-4E85-9CF8-A527DE320AED}" dt="2025-09-01T15:11:33.723" v="243" actId="13926"/>
          <ac:graphicFrameMkLst>
            <pc:docMk/>
            <pc:sldMk cId="0" sldId="269"/>
            <ac:graphicFrameMk id="12" creationId="{B5678281-5A87-4144-90E9-45CF10847CC1}"/>
          </ac:graphicFrameMkLst>
        </pc:graphicFrameChg>
      </pc:sldChg>
      <pc:sldChg chg="addSp delSp modSp mod">
        <pc:chgData name="Michael Tull" userId="9b84a4a9-44d8-4d28-b1a8-900a431bc43d" providerId="ADAL" clId="{01A08790-896D-4E85-9CF8-A527DE320AED}" dt="2025-09-01T15:09:17.355" v="238" actId="478"/>
        <pc:sldMkLst>
          <pc:docMk/>
          <pc:sldMk cId="2989764278" sldId="2147483511"/>
        </pc:sldMkLst>
        <pc:spChg chg="del mod">
          <ac:chgData name="Michael Tull" userId="9b84a4a9-44d8-4d28-b1a8-900a431bc43d" providerId="ADAL" clId="{01A08790-896D-4E85-9CF8-A527DE320AED}" dt="2025-09-01T15:09:17.355" v="238" actId="478"/>
          <ac:spMkLst>
            <pc:docMk/>
            <pc:sldMk cId="2989764278" sldId="2147483511"/>
            <ac:spMk id="2" creationId="{96E4E733-B713-5947-64DF-289A608043F9}"/>
          </ac:spMkLst>
        </pc:spChg>
        <pc:spChg chg="add mod">
          <ac:chgData name="Michael Tull" userId="9b84a4a9-44d8-4d28-b1a8-900a431bc43d" providerId="ADAL" clId="{01A08790-896D-4E85-9CF8-A527DE320AED}" dt="2025-09-01T15:09:13.094" v="237" actId="255"/>
          <ac:spMkLst>
            <pc:docMk/>
            <pc:sldMk cId="2989764278" sldId="2147483511"/>
            <ac:spMk id="8" creationId="{5A6EFFDE-F538-433E-8FE2-E3BD9A3DE543}"/>
          </ac:spMkLst>
        </pc:spChg>
        <pc:spChg chg="mod">
          <ac:chgData name="Michael Tull" userId="9b84a4a9-44d8-4d28-b1a8-900a431bc43d" providerId="ADAL" clId="{01A08790-896D-4E85-9CF8-A527DE320AED}" dt="2025-08-31T20:12:26.954" v="233" actId="20577"/>
          <ac:spMkLst>
            <pc:docMk/>
            <pc:sldMk cId="2989764278" sldId="2147483511"/>
            <ac:spMk id="12" creationId="{70B245E6-6400-4598-9591-4ABCE5DEB00E}"/>
          </ac:spMkLst>
        </pc:spChg>
      </pc:sldChg>
    </pc:docChg>
  </pc:docChgLst>
  <pc:docChgLst>
    <pc:chgData name="Michael Tull" userId="9b84a4a9-44d8-4d28-b1a8-900a431bc43d" providerId="ADAL" clId="{391F1415-9951-4BBC-9385-BB7AE6DDCC07}"/>
    <pc:docChg chg="delSld modSld delSection modSection">
      <pc:chgData name="Michael Tull" userId="9b84a4a9-44d8-4d28-b1a8-900a431bc43d" providerId="ADAL" clId="{391F1415-9951-4BBC-9385-BB7AE6DDCC07}" dt="2025-06-23T15:40:22.665" v="131" actId="18676"/>
      <pc:docMkLst>
        <pc:docMk/>
      </pc:docMkLst>
      <pc:sldChg chg="modSp mod">
        <pc:chgData name="Michael Tull" userId="9b84a4a9-44d8-4d28-b1a8-900a431bc43d" providerId="ADAL" clId="{391F1415-9951-4BBC-9385-BB7AE6DDCC07}" dt="2025-06-23T15:34:23.349" v="18" actId="20577"/>
        <pc:sldMkLst>
          <pc:docMk/>
          <pc:sldMk cId="0" sldId="269"/>
        </pc:sldMkLst>
        <pc:spChg chg="mod">
          <ac:chgData name="Michael Tull" userId="9b84a4a9-44d8-4d28-b1a8-900a431bc43d" providerId="ADAL" clId="{391F1415-9951-4BBC-9385-BB7AE6DDCC07}" dt="2025-06-23T15:33:53.727" v="2" actId="403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391F1415-9951-4BBC-9385-BB7AE6DDCC07}" dt="2025-06-23T15:34:12.337" v="5" actId="1076"/>
          <ac:spMkLst>
            <pc:docMk/>
            <pc:sldMk cId="0" sldId="269"/>
            <ac:spMk id="25" creationId="{4CA43349-C0D2-4A85-B600-5FF18BDFB333}"/>
          </ac:spMkLst>
        </pc:spChg>
        <pc:graphicFrameChg chg="mod modGraphic">
          <ac:chgData name="Michael Tull" userId="9b84a4a9-44d8-4d28-b1a8-900a431bc43d" providerId="ADAL" clId="{391F1415-9951-4BBC-9385-BB7AE6DDCC07}" dt="2025-06-23T15:34:23.349" v="18" actId="2057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391F1415-9951-4BBC-9385-BB7AE6DDCC07}" dt="2025-06-23T15:34:12.337" v="5" actId="1076"/>
          <ac:picMkLst>
            <pc:docMk/>
            <pc:sldMk cId="0" sldId="269"/>
            <ac:picMk id="2" creationId="{3FC75028-01D6-79FE-6333-990F0D77068E}"/>
          </ac:picMkLst>
        </pc:picChg>
        <pc:picChg chg="mod">
          <ac:chgData name="Michael Tull" userId="9b84a4a9-44d8-4d28-b1a8-900a431bc43d" providerId="ADAL" clId="{391F1415-9951-4BBC-9385-BB7AE6DDCC07}" dt="2025-06-23T15:34:12.337" v="5" actId="1076"/>
          <ac:picMkLst>
            <pc:docMk/>
            <pc:sldMk cId="0" sldId="269"/>
            <ac:picMk id="3" creationId="{42BA9FAB-3D48-1841-5CFC-FE0D26A77CB1}"/>
          </ac:picMkLst>
        </pc:picChg>
      </pc:sldChg>
      <pc:sldChg chg="del">
        <pc:chgData name="Michael Tull" userId="9b84a4a9-44d8-4d28-b1a8-900a431bc43d" providerId="ADAL" clId="{391F1415-9951-4BBC-9385-BB7AE6DDCC07}" dt="2025-06-23T15:40:22.665" v="131" actId="18676"/>
        <pc:sldMkLst>
          <pc:docMk/>
          <pc:sldMk cId="3042978521" sldId="439"/>
        </pc:sldMkLst>
      </pc:sldChg>
      <pc:sldChg chg="modSp mod">
        <pc:chgData name="Michael Tull" userId="9b84a4a9-44d8-4d28-b1a8-900a431bc43d" providerId="ADAL" clId="{391F1415-9951-4BBC-9385-BB7AE6DDCC07}" dt="2025-06-23T15:35:11.523" v="130" actId="20577"/>
        <pc:sldMkLst>
          <pc:docMk/>
          <pc:sldMk cId="2989764278" sldId="2147483511"/>
        </pc:sldMkLst>
        <pc:spChg chg="mod">
          <ac:chgData name="Michael Tull" userId="9b84a4a9-44d8-4d28-b1a8-900a431bc43d" providerId="ADAL" clId="{391F1415-9951-4BBC-9385-BB7AE6DDCC07}" dt="2025-06-23T15:35:11.523" v="130" actId="20577"/>
          <ac:spMkLst>
            <pc:docMk/>
            <pc:sldMk cId="2989764278" sldId="2147483511"/>
            <ac:spMk id="12" creationId="{70B245E6-6400-4598-9591-4ABCE5DEB00E}"/>
          </ac:spMkLst>
        </pc:spChg>
        <pc:picChg chg="mod">
          <ac:chgData name="Michael Tull" userId="9b84a4a9-44d8-4d28-b1a8-900a431bc43d" providerId="ADAL" clId="{391F1415-9951-4BBC-9385-BB7AE6DDCC07}" dt="2025-06-23T15:33:09.005" v="0" actId="1076"/>
          <ac:picMkLst>
            <pc:docMk/>
            <pc:sldMk cId="2989764278" sldId="2147483511"/>
            <ac:picMk id="3" creationId="{789AFD27-FC43-33BD-C2B3-7605DE908401}"/>
          </ac:picMkLst>
        </pc:picChg>
        <pc:picChg chg="mod">
          <ac:chgData name="Michael Tull" userId="9b84a4a9-44d8-4d28-b1a8-900a431bc43d" providerId="ADAL" clId="{391F1415-9951-4BBC-9385-BB7AE6DDCC07}" dt="2025-06-23T15:33:09.005" v="0" actId="1076"/>
          <ac:picMkLst>
            <pc:docMk/>
            <pc:sldMk cId="2989764278" sldId="2147483511"/>
            <ac:picMk id="9" creationId="{C856F360-99B7-FB77-FEB9-650F77941FED}"/>
          </ac:picMkLst>
        </pc:picChg>
      </pc:sldChg>
      <pc:sldMasterChg chg="delSldLayout">
        <pc:chgData name="Michael Tull" userId="9b84a4a9-44d8-4d28-b1a8-900a431bc43d" providerId="ADAL" clId="{391F1415-9951-4BBC-9385-BB7AE6DDCC07}" dt="2025-06-23T15:40:22.665" v="131" actId="18676"/>
        <pc:sldMasterMkLst>
          <pc:docMk/>
          <pc:sldMasterMk cId="2805914372" sldId="2147484171"/>
        </pc:sldMasterMkLst>
        <pc:sldLayoutChg chg="del">
          <pc:chgData name="Michael Tull" userId="9b84a4a9-44d8-4d28-b1a8-900a431bc43d" providerId="ADAL" clId="{391F1415-9951-4BBC-9385-BB7AE6DDCC07}" dt="2025-06-23T15:40:22.665" v="131" actId="18676"/>
          <pc:sldLayoutMkLst>
            <pc:docMk/>
            <pc:sldMasterMk cId="2805914372" sldId="2147484171"/>
            <pc:sldLayoutMk cId="2826346309" sldId="2147484203"/>
          </pc:sldLayoutMkLst>
        </pc:sldLayoutChg>
      </pc:sldMasterChg>
    </pc:docChg>
  </pc:docChgLst>
  <pc:docChgLst>
    <pc:chgData name="Michael Tull" userId="9b84a4a9-44d8-4d28-b1a8-900a431bc43d" providerId="ADAL" clId="{0E3A503B-3537-4F12-B43A-D1A12EB04CDF}"/>
    <pc:docChg chg="undo custSel addSld delSld modSld sldOrd addSection modSection">
      <pc:chgData name="Michael Tull" userId="9b84a4a9-44d8-4d28-b1a8-900a431bc43d" providerId="ADAL" clId="{0E3A503B-3537-4F12-B43A-D1A12EB04CDF}" dt="2025-06-06T07:53:24.897" v="1590"/>
      <pc:docMkLst>
        <pc:docMk/>
      </pc:docMkLst>
      <pc:sldChg chg="addSp delSp modSp mod ord">
        <pc:chgData name="Michael Tull" userId="9b84a4a9-44d8-4d28-b1a8-900a431bc43d" providerId="ADAL" clId="{0E3A503B-3537-4F12-B43A-D1A12EB04CDF}" dt="2025-06-05T14:25:26.964" v="1578" actId="1038"/>
        <pc:sldMkLst>
          <pc:docMk/>
          <pc:sldMk cId="0" sldId="269"/>
        </pc:sldMkLst>
        <pc:spChg chg="add del mod">
          <ac:chgData name="Michael Tull" userId="9b84a4a9-44d8-4d28-b1a8-900a431bc43d" providerId="ADAL" clId="{0E3A503B-3537-4F12-B43A-D1A12EB04CDF}" dt="2025-06-05T14:21:25.249" v="1521" actId="478"/>
          <ac:spMkLst>
            <pc:docMk/>
            <pc:sldMk cId="0" sldId="269"/>
            <ac:spMk id="2" creationId="{7788DD6D-47FF-4BC1-A030-8B0CEE810831}"/>
          </ac:spMkLst>
        </pc:spChg>
        <pc:spChg chg="mod">
          <ac:chgData name="Michael Tull" userId="9b84a4a9-44d8-4d28-b1a8-900a431bc43d" providerId="ADAL" clId="{0E3A503B-3537-4F12-B43A-D1A12EB04CDF}" dt="2025-06-05T14:25:26.964" v="1578" actId="1038"/>
          <ac:spMkLst>
            <pc:docMk/>
            <pc:sldMk cId="0" sldId="269"/>
            <ac:spMk id="12" creationId="{61973110-5A91-FC0F-5932-AD7F85FC9084}"/>
          </ac:spMkLst>
        </pc:spChg>
        <pc:spChg chg="mod">
          <ac:chgData name="Michael Tull" userId="9b84a4a9-44d8-4d28-b1a8-900a431bc43d" providerId="ADAL" clId="{0E3A503B-3537-4F12-B43A-D1A12EB04CDF}" dt="2025-06-05T14:18:39.050" v="1507" actId="12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0E3A503B-3537-4F12-B43A-D1A12EB04CDF}" dt="2025-06-05T14:25:17.437" v="1576" actId="1076"/>
          <ac:spMkLst>
            <pc:docMk/>
            <pc:sldMk cId="0" sldId="269"/>
            <ac:spMk id="25" creationId="{4CA43349-C0D2-4A85-B600-5FF18BDFB333}"/>
          </ac:spMkLst>
        </pc:spChg>
        <pc:spChg chg="mod">
          <ac:chgData name="Michael Tull" userId="9b84a4a9-44d8-4d28-b1a8-900a431bc43d" providerId="ADAL" clId="{0E3A503B-3537-4F12-B43A-D1A12EB04CDF}" dt="2025-06-05T14:21:43.388" v="1527" actId="121"/>
          <ac:spMkLst>
            <pc:docMk/>
            <pc:sldMk cId="0" sldId="269"/>
            <ac:spMk id="29" creationId="{56E90662-B99A-46CF-BCFA-934CE7D6A932}"/>
          </ac:spMkLst>
        </pc:spChg>
        <pc:spChg chg="mod">
          <ac:chgData name="Michael Tull" userId="9b84a4a9-44d8-4d28-b1a8-900a431bc43d" providerId="ADAL" clId="{0E3A503B-3537-4F12-B43A-D1A12EB04CDF}" dt="2025-06-05T14:23:00.371" v="1530" actId="14100"/>
          <ac:spMkLst>
            <pc:docMk/>
            <pc:sldMk cId="0" sldId="269"/>
            <ac:spMk id="30" creationId="{AC16E40B-C388-C336-3A88-3B0B9AA8E78E}"/>
          </ac:spMkLst>
        </pc:spChg>
        <pc:spChg chg="add mod">
          <ac:chgData name="Michael Tull" userId="9b84a4a9-44d8-4d28-b1a8-900a431bc43d" providerId="ADAL" clId="{0E3A503B-3537-4F12-B43A-D1A12EB04CDF}" dt="2025-06-05T11:46:36.437" v="1106" actId="1076"/>
          <ac:spMkLst>
            <pc:docMk/>
            <pc:sldMk cId="0" sldId="269"/>
            <ac:spMk id="31" creationId="{D4BEB13A-28CD-43F1-8125-8FF947046701}"/>
          </ac:spMkLst>
        </pc:spChg>
        <pc:graphicFrameChg chg="mod modGraphic">
          <ac:chgData name="Michael Tull" userId="9b84a4a9-44d8-4d28-b1a8-900a431bc43d" providerId="ADAL" clId="{0E3A503B-3537-4F12-B43A-D1A12EB04CDF}" dt="2025-06-05T14:23:36.254" v="1544" actId="20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7" creationId="{78D5BAF3-4C32-43FD-84C2-8B3C421C5C83}"/>
          </ac:picMkLst>
        </pc:pic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8" creationId="{BC8F1529-F214-4411-8CDE-B93AA0064F3F}"/>
          </ac:picMkLst>
        </pc:picChg>
      </pc:sldChg>
      <pc:sldChg chg="ord">
        <pc:chgData name="Michael Tull" userId="9b84a4a9-44d8-4d28-b1a8-900a431bc43d" providerId="ADAL" clId="{0E3A503B-3537-4F12-B43A-D1A12EB04CDF}" dt="2025-06-05T14:08:11.044" v="1141"/>
        <pc:sldMkLst>
          <pc:docMk/>
          <pc:sldMk cId="887131680" sldId="2147473571"/>
        </pc:sldMkLst>
      </pc:sldChg>
      <pc:sldChg chg="addSp delSp modSp mod ord">
        <pc:chgData name="Michael Tull" userId="9b84a4a9-44d8-4d28-b1a8-900a431bc43d" providerId="ADAL" clId="{0E3A503B-3537-4F12-B43A-D1A12EB04CDF}" dt="2025-06-06T07:53:24.897" v="1590"/>
        <pc:sldMkLst>
          <pc:docMk/>
          <pc:sldMk cId="2989764278" sldId="2147483511"/>
        </pc:sldMkLst>
        <pc:spChg chg="add del mod">
          <ac:chgData name="Michael Tull" userId="9b84a4a9-44d8-4d28-b1a8-900a431bc43d" providerId="ADAL" clId="{0E3A503B-3537-4F12-B43A-D1A12EB04CDF}" dt="2025-06-05T11:22:34.953" v="410" actId="478"/>
          <ac:spMkLst>
            <pc:docMk/>
            <pc:sldMk cId="2989764278" sldId="2147483511"/>
            <ac:spMk id="3" creationId="{DBD8AC7D-5948-4ADF-AD17-B638092239EB}"/>
          </ac:spMkLst>
        </pc:spChg>
        <pc:spChg chg="mod">
          <ac:chgData name="Michael Tull" userId="9b84a4a9-44d8-4d28-b1a8-900a431bc43d" providerId="ADAL" clId="{0E3A503B-3537-4F12-B43A-D1A12EB04CDF}" dt="2025-06-05T11:20:55.481" v="386" actId="20577"/>
          <ac:spMkLst>
            <pc:docMk/>
            <pc:sldMk cId="2989764278" sldId="2147483511"/>
            <ac:spMk id="6" creationId="{DCC9FD22-F432-8655-61AA-23A3CB06C870}"/>
          </ac:spMkLst>
        </pc:spChg>
        <pc:spChg chg="del">
          <ac:chgData name="Michael Tull" userId="9b84a4a9-44d8-4d28-b1a8-900a431bc43d" providerId="ADAL" clId="{0E3A503B-3537-4F12-B43A-D1A12EB04CDF}" dt="2025-06-05T11:22:32.917" v="409" actId="478"/>
          <ac:spMkLst>
            <pc:docMk/>
            <pc:sldMk cId="2989764278" sldId="2147483511"/>
            <ac:spMk id="7" creationId="{1A73AEB9-9C4E-8FB0-2CEE-3D2CAE58179E}"/>
          </ac:spMkLst>
        </pc:spChg>
        <pc:spChg chg="add del mod">
          <ac:chgData name="Michael Tull" userId="9b84a4a9-44d8-4d28-b1a8-900a431bc43d" providerId="ADAL" clId="{0E3A503B-3537-4F12-B43A-D1A12EB04CDF}" dt="2025-06-05T11:34:55.530" v="857" actId="478"/>
          <ac:spMkLst>
            <pc:docMk/>
            <pc:sldMk cId="2989764278" sldId="2147483511"/>
            <ac:spMk id="10" creationId="{B53D1809-F3FB-4D63-8A32-5B861A65928A}"/>
          </ac:spMkLst>
        </pc:spChg>
        <pc:spChg chg="add del mod">
          <ac:chgData name="Michael Tull" userId="9b84a4a9-44d8-4d28-b1a8-900a431bc43d" providerId="ADAL" clId="{0E3A503B-3537-4F12-B43A-D1A12EB04CDF}" dt="2025-06-05T11:22:00.508" v="400"/>
          <ac:spMkLst>
            <pc:docMk/>
            <pc:sldMk cId="2989764278" sldId="2147483511"/>
            <ac:spMk id="11" creationId="{9770EBEC-8162-4DCA-91A2-860B5A4007D1}"/>
          </ac:spMkLst>
        </pc:spChg>
        <pc:spChg chg="add mod">
          <ac:chgData name="Michael Tull" userId="9b84a4a9-44d8-4d28-b1a8-900a431bc43d" providerId="ADAL" clId="{0E3A503B-3537-4F12-B43A-D1A12EB04CDF}" dt="2025-06-05T11:44:51.297" v="1102" actId="14100"/>
          <ac:spMkLst>
            <pc:docMk/>
            <pc:sldMk cId="2989764278" sldId="2147483511"/>
            <ac:spMk id="12" creationId="{70B245E6-6400-4598-9591-4ABCE5DEB00E}"/>
          </ac:spMkLst>
        </pc:spChg>
        <pc:spChg chg="add mod">
          <ac:chgData name="Michael Tull" userId="9b84a4a9-44d8-4d28-b1a8-900a431bc43d" providerId="ADAL" clId="{0E3A503B-3537-4F12-B43A-D1A12EB04CDF}" dt="2025-06-06T07:50:59.823" v="1583" actId="1076"/>
          <ac:spMkLst>
            <pc:docMk/>
            <pc:sldMk cId="2989764278" sldId="2147483511"/>
            <ac:spMk id="13" creationId="{956B3F80-2EAC-47BB-BA36-CCFAA9378BFF}"/>
          </ac:spMkLst>
        </pc:spChg>
        <pc:graphicFrameChg chg="add del mod modGraphic">
          <ac:chgData name="Michael Tull" userId="9b84a4a9-44d8-4d28-b1a8-900a431bc43d" providerId="ADAL" clId="{0E3A503B-3537-4F12-B43A-D1A12EB04CDF}" dt="2025-06-03T16:05:56.922" v="350" actId="478"/>
          <ac:graphicFrameMkLst>
            <pc:docMk/>
            <pc:sldMk cId="2989764278" sldId="2147483511"/>
            <ac:graphicFrameMk id="2" creationId="{33CE6285-6777-49A5-924A-3621E73FED65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22.290" v="355" actId="478"/>
          <ac:graphicFrameMkLst>
            <pc:docMk/>
            <pc:sldMk cId="2989764278" sldId="2147483511"/>
            <ac:graphicFrameMk id="3" creationId="{DCC58EAF-864B-457D-A150-194F89A15E80}"/>
          </ac:graphicFrameMkLst>
        </pc:graphicFrameChg>
        <pc:graphicFrameChg chg="del mod">
          <ac:chgData name="Michael Tull" userId="9b84a4a9-44d8-4d28-b1a8-900a431bc43d" providerId="ADAL" clId="{0E3A503B-3537-4F12-B43A-D1A12EB04CDF}" dt="2025-06-05T11:32:59.836" v="822" actId="478"/>
          <ac:graphicFrameMkLst>
            <pc:docMk/>
            <pc:sldMk cId="2989764278" sldId="2147483511"/>
            <ac:graphicFrameMk id="8" creationId="{F83EA5BA-38CD-4CE7-A38A-5402C1603F1E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07.458" v="354" actId="478"/>
          <ac:graphicFrameMkLst>
            <pc:docMk/>
            <pc:sldMk cId="2989764278" sldId="2147483511"/>
            <ac:graphicFrameMk id="11" creationId="{53D7AB69-25A8-4F47-97D2-23052717AC9F}"/>
          </ac:graphicFrameMkLst>
        </pc:graphicFrameChg>
        <pc:picChg chg="add mod">
          <ac:chgData name="Michael Tull" userId="9b84a4a9-44d8-4d28-b1a8-900a431bc43d" providerId="ADAL" clId="{0E3A503B-3537-4F12-B43A-D1A12EB04CDF}" dt="2025-06-05T11:21:42.217" v="397" actId="1076"/>
          <ac:picMkLst>
            <pc:docMk/>
            <pc:sldMk cId="2989764278" sldId="2147483511"/>
            <ac:picMk id="5" creationId="{24325FC6-EF8F-4272-AB34-2F57A8B6BFE0}"/>
          </ac:picMkLst>
        </pc:picChg>
        <pc:picChg chg="add mod">
          <ac:chgData name="Michael Tull" userId="9b84a4a9-44d8-4d28-b1a8-900a431bc43d" providerId="ADAL" clId="{0E3A503B-3537-4F12-B43A-D1A12EB04CDF}" dt="2025-06-05T11:21:44.977" v="398" actId="1076"/>
          <ac:picMkLst>
            <pc:docMk/>
            <pc:sldMk cId="2989764278" sldId="2147483511"/>
            <ac:picMk id="9" creationId="{139DC48A-CC5A-4F28-96E6-5CBC9A212457}"/>
          </ac:picMkLst>
        </pc:picChg>
      </pc:sldChg>
      <pc:sldChg chg="add del">
        <pc:chgData name="Michael Tull" userId="9b84a4a9-44d8-4d28-b1a8-900a431bc43d" providerId="ADAL" clId="{0E3A503B-3537-4F12-B43A-D1A12EB04CDF}" dt="2025-06-05T11:35:19.522" v="860" actId="47"/>
        <pc:sldMkLst>
          <pc:docMk/>
          <pc:sldMk cId="3132209180" sldId="214748351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96DFED-15B2-20C1-5772-84D7869F6D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AACAEB-FADA-4FED-FF29-0D42AC0BA0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A6C5C-9A86-E843-A2E1-BBF91996B61B}" type="datetimeFigureOut">
              <a:rPr lang="en-GB" smtClean="0"/>
              <a:t>05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FCBC9B-5A85-5F10-925D-CA1C4E6213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D4801-EEB4-F4C7-4B41-E8850AF2E5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E1D86-4A00-3B4E-BD97-93E66BD412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7364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 algn="l" defTabSz="654246">
              <a:buClrTx/>
              <a:buNone/>
              <a:defRPr/>
            </a:pPr>
            <a:r>
              <a:rPr lang="en-GB" sz="1050" b="0" kern="1200" dirty="0">
                <a:ea typeface="+mn-ea"/>
                <a:cs typeface="+mn-cs"/>
              </a:rPr>
              <a:t>Source: DCM / AGE UK</a:t>
            </a:r>
          </a:p>
          <a:p>
            <a:pPr marL="158750" indent="0" algn="l" defTabSz="654246">
              <a:buClrTx/>
              <a:buNone/>
              <a:defRPr/>
            </a:pPr>
            <a:endParaRPr lang="en-US" sz="1050" kern="1200" dirty="0">
              <a:ea typeface="+mn-ea"/>
              <a:cs typeface="+mn-cs"/>
            </a:endParaRPr>
          </a:p>
          <a:p>
            <a:pPr marL="15875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7913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5474d3673c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Google Shape;186;g25474d3673c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algn="l" defTabSz="654246">
              <a:buClrTx/>
              <a:buNone/>
              <a:defRPr/>
            </a:pPr>
            <a:r>
              <a:rPr lang="en-GB" sz="1050" b="0" kern="1200">
                <a:ea typeface="+mn-ea"/>
                <a:cs typeface="+mn-cs"/>
              </a:rPr>
              <a:t>Source: DCM / AGE UK</a:t>
            </a:r>
            <a:endParaRPr lang="en-GB" sz="1050" b="0" kern="1200" dirty="0"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5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customXml" Target="../ink/ink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0A1D48-38DD-1CA8-E194-E8F7CDC98C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9143997" cy="5143498"/>
          </a:xfrm>
          <a:custGeom>
            <a:avLst/>
            <a:gdLst>
              <a:gd name="connsiteX0" fmla="*/ 5074986 w 9143997"/>
              <a:gd name="connsiteY0" fmla="*/ 936728 h 5143498"/>
              <a:gd name="connsiteX1" fmla="*/ 5107077 w 9143997"/>
              <a:gd name="connsiteY1" fmla="*/ 968699 h 5143498"/>
              <a:gd name="connsiteX2" fmla="*/ 5107077 w 9143997"/>
              <a:gd name="connsiteY2" fmla="*/ 1000702 h 5143498"/>
              <a:gd name="connsiteX3" fmla="*/ 5074986 w 9143997"/>
              <a:gd name="connsiteY3" fmla="*/ 1000702 h 5143498"/>
              <a:gd name="connsiteX4" fmla="*/ 5042927 w 9143997"/>
              <a:gd name="connsiteY4" fmla="*/ 968699 h 5143498"/>
              <a:gd name="connsiteX5" fmla="*/ 5074986 w 9143997"/>
              <a:gd name="connsiteY5" fmla="*/ 936728 h 5143498"/>
              <a:gd name="connsiteX6" fmla="*/ 4106711 w 9143997"/>
              <a:gd name="connsiteY6" fmla="*/ 936728 h 5143498"/>
              <a:gd name="connsiteX7" fmla="*/ 4138770 w 9143997"/>
              <a:gd name="connsiteY7" fmla="*/ 968698 h 5143498"/>
              <a:gd name="connsiteX8" fmla="*/ 4138770 w 9143997"/>
              <a:gd name="connsiteY8" fmla="*/ 1000701 h 5143498"/>
              <a:gd name="connsiteX9" fmla="*/ 4106711 w 9143997"/>
              <a:gd name="connsiteY9" fmla="*/ 1000701 h 5143498"/>
              <a:gd name="connsiteX10" fmla="*/ 4074653 w 9143997"/>
              <a:gd name="connsiteY10" fmla="*/ 968698 h 5143498"/>
              <a:gd name="connsiteX11" fmla="*/ 4106711 w 9143997"/>
              <a:gd name="connsiteY11" fmla="*/ 936728 h 5143498"/>
              <a:gd name="connsiteX12" fmla="*/ 3792321 w 9143997"/>
              <a:gd name="connsiteY12" fmla="*/ 936728 h 5143498"/>
              <a:gd name="connsiteX13" fmla="*/ 3824380 w 9143997"/>
              <a:gd name="connsiteY13" fmla="*/ 968699 h 5143498"/>
              <a:gd name="connsiteX14" fmla="*/ 3824380 w 9143997"/>
              <a:gd name="connsiteY14" fmla="*/ 1000702 h 5143498"/>
              <a:gd name="connsiteX15" fmla="*/ 3792321 w 9143997"/>
              <a:gd name="connsiteY15" fmla="*/ 1000702 h 5143498"/>
              <a:gd name="connsiteX16" fmla="*/ 3760263 w 9143997"/>
              <a:gd name="connsiteY16" fmla="*/ 968699 h 5143498"/>
              <a:gd name="connsiteX17" fmla="*/ 3792321 w 9143997"/>
              <a:gd name="connsiteY17" fmla="*/ 936728 h 5143498"/>
              <a:gd name="connsiteX18" fmla="*/ 5203813 w 9143997"/>
              <a:gd name="connsiteY18" fmla="*/ 936728 h 5143498"/>
              <a:gd name="connsiteX19" fmla="*/ 5235905 w 9143997"/>
              <a:gd name="connsiteY19" fmla="*/ 968698 h 5143498"/>
              <a:gd name="connsiteX20" fmla="*/ 5235905 w 9143997"/>
              <a:gd name="connsiteY20" fmla="*/ 1000701 h 5143498"/>
              <a:gd name="connsiteX21" fmla="*/ 5203813 w 9143997"/>
              <a:gd name="connsiteY21" fmla="*/ 1000701 h 5143498"/>
              <a:gd name="connsiteX22" fmla="*/ 5171754 w 9143997"/>
              <a:gd name="connsiteY22" fmla="*/ 968698 h 5143498"/>
              <a:gd name="connsiteX23" fmla="*/ 5203813 w 9143997"/>
              <a:gd name="connsiteY23" fmla="*/ 936728 h 5143498"/>
              <a:gd name="connsiteX24" fmla="*/ 4979338 w 9143997"/>
              <a:gd name="connsiteY24" fmla="*/ 936728 h 5143498"/>
              <a:gd name="connsiteX25" fmla="*/ 5011068 w 9143997"/>
              <a:gd name="connsiteY25" fmla="*/ 964032 h 5143498"/>
              <a:gd name="connsiteX26" fmla="*/ 4947609 w 9143997"/>
              <a:gd name="connsiteY26" fmla="*/ 964032 h 5143498"/>
              <a:gd name="connsiteX27" fmla="*/ 4979338 w 9143997"/>
              <a:gd name="connsiteY27" fmla="*/ 936728 h 5143498"/>
              <a:gd name="connsiteX28" fmla="*/ 4711866 w 9143997"/>
              <a:gd name="connsiteY28" fmla="*/ 936728 h 5143498"/>
              <a:gd name="connsiteX29" fmla="*/ 4743957 w 9143997"/>
              <a:gd name="connsiteY29" fmla="*/ 968698 h 5143498"/>
              <a:gd name="connsiteX30" fmla="*/ 4743957 w 9143997"/>
              <a:gd name="connsiteY30" fmla="*/ 1000701 h 5143498"/>
              <a:gd name="connsiteX31" fmla="*/ 4711866 w 9143997"/>
              <a:gd name="connsiteY31" fmla="*/ 1000701 h 5143498"/>
              <a:gd name="connsiteX32" fmla="*/ 4679807 w 9143997"/>
              <a:gd name="connsiteY32" fmla="*/ 968698 h 5143498"/>
              <a:gd name="connsiteX33" fmla="*/ 4711866 w 9143997"/>
              <a:gd name="connsiteY33" fmla="*/ 936728 h 5143498"/>
              <a:gd name="connsiteX34" fmla="*/ 4487489 w 9143997"/>
              <a:gd name="connsiteY34" fmla="*/ 936728 h 5143498"/>
              <a:gd name="connsiteX35" fmla="*/ 4519218 w 9143997"/>
              <a:gd name="connsiteY35" fmla="*/ 964032 h 5143498"/>
              <a:gd name="connsiteX36" fmla="*/ 4455760 w 9143997"/>
              <a:gd name="connsiteY36" fmla="*/ 964032 h 5143498"/>
              <a:gd name="connsiteX37" fmla="*/ 4487489 w 9143997"/>
              <a:gd name="connsiteY37" fmla="*/ 936728 h 5143498"/>
              <a:gd name="connsiteX38" fmla="*/ 3922070 w 9143997"/>
              <a:gd name="connsiteY38" fmla="*/ 936728 h 5143498"/>
              <a:gd name="connsiteX39" fmla="*/ 3954129 w 9143997"/>
              <a:gd name="connsiteY39" fmla="*/ 968699 h 5143498"/>
              <a:gd name="connsiteX40" fmla="*/ 3922070 w 9143997"/>
              <a:gd name="connsiteY40" fmla="*/ 1000701 h 5143498"/>
              <a:gd name="connsiteX41" fmla="*/ 3890012 w 9143997"/>
              <a:gd name="connsiteY41" fmla="*/ 968699 h 5143498"/>
              <a:gd name="connsiteX42" fmla="*/ 3922070 w 9143997"/>
              <a:gd name="connsiteY42" fmla="*/ 936728 h 5143498"/>
              <a:gd name="connsiteX43" fmla="*/ 4357344 w 9143997"/>
              <a:gd name="connsiteY43" fmla="*/ 927461 h 5143498"/>
              <a:gd name="connsiteX44" fmla="*/ 4357344 w 9143997"/>
              <a:gd name="connsiteY44" fmla="*/ 1005366 h 5143498"/>
              <a:gd name="connsiteX45" fmla="*/ 4362023 w 9143997"/>
              <a:gd name="connsiteY45" fmla="*/ 1010031 h 5143498"/>
              <a:gd name="connsiteX46" fmla="*/ 4366701 w 9143997"/>
              <a:gd name="connsiteY46" fmla="*/ 1005366 h 5143498"/>
              <a:gd name="connsiteX47" fmla="*/ 4366701 w 9143997"/>
              <a:gd name="connsiteY47" fmla="*/ 975893 h 5143498"/>
              <a:gd name="connsiteX48" fmla="*/ 4366701 w 9143997"/>
              <a:gd name="connsiteY48" fmla="*/ 965313 h 5143498"/>
              <a:gd name="connsiteX49" fmla="*/ 4395333 w 9143997"/>
              <a:gd name="connsiteY49" fmla="*/ 936793 h 5143498"/>
              <a:gd name="connsiteX50" fmla="*/ 4423965 w 9143997"/>
              <a:gd name="connsiteY50" fmla="*/ 965346 h 5143498"/>
              <a:gd name="connsiteX51" fmla="*/ 4423965 w 9143997"/>
              <a:gd name="connsiteY51" fmla="*/ 1005366 h 5143498"/>
              <a:gd name="connsiteX52" fmla="*/ 4428644 w 9143997"/>
              <a:gd name="connsiteY52" fmla="*/ 1010031 h 5143498"/>
              <a:gd name="connsiteX53" fmla="*/ 4433323 w 9143997"/>
              <a:gd name="connsiteY53" fmla="*/ 1005366 h 5143498"/>
              <a:gd name="connsiteX54" fmla="*/ 4433323 w 9143997"/>
              <a:gd name="connsiteY54" fmla="*/ 965346 h 5143498"/>
              <a:gd name="connsiteX55" fmla="*/ 4395366 w 9143997"/>
              <a:gd name="connsiteY55" fmla="*/ 927461 h 5143498"/>
              <a:gd name="connsiteX56" fmla="*/ 4395333 w 9143997"/>
              <a:gd name="connsiteY56" fmla="*/ 927461 h 5143498"/>
              <a:gd name="connsiteX57" fmla="*/ 4366701 w 9143997"/>
              <a:gd name="connsiteY57" fmla="*/ 940473 h 5143498"/>
              <a:gd name="connsiteX58" fmla="*/ 4366701 w 9143997"/>
              <a:gd name="connsiteY58" fmla="*/ 932127 h 5143498"/>
              <a:gd name="connsiteX59" fmla="*/ 4362023 w 9143997"/>
              <a:gd name="connsiteY59" fmla="*/ 927461 h 5143498"/>
              <a:gd name="connsiteX60" fmla="*/ 4711833 w 9143997"/>
              <a:gd name="connsiteY60" fmla="*/ 927430 h 5143498"/>
              <a:gd name="connsiteX61" fmla="*/ 4670417 w 9143997"/>
              <a:gd name="connsiteY61" fmla="*/ 968731 h 5143498"/>
              <a:gd name="connsiteX62" fmla="*/ 4711833 w 9143997"/>
              <a:gd name="connsiteY62" fmla="*/ 1010032 h 5143498"/>
              <a:gd name="connsiteX63" fmla="*/ 4753281 w 9143997"/>
              <a:gd name="connsiteY63" fmla="*/ 1010032 h 5143498"/>
              <a:gd name="connsiteX64" fmla="*/ 4753281 w 9143997"/>
              <a:gd name="connsiteY64" fmla="*/ 968731 h 5143498"/>
              <a:gd name="connsiteX65" fmla="*/ 4711833 w 9143997"/>
              <a:gd name="connsiteY65" fmla="*/ 927430 h 5143498"/>
              <a:gd name="connsiteX66" fmla="*/ 4106744 w 9143997"/>
              <a:gd name="connsiteY66" fmla="*/ 927430 h 5143498"/>
              <a:gd name="connsiteX67" fmla="*/ 4065328 w 9143997"/>
              <a:gd name="connsiteY67" fmla="*/ 968731 h 5143498"/>
              <a:gd name="connsiteX68" fmla="*/ 4106744 w 9143997"/>
              <a:gd name="connsiteY68" fmla="*/ 1010032 h 5143498"/>
              <a:gd name="connsiteX69" fmla="*/ 4148159 w 9143997"/>
              <a:gd name="connsiteY69" fmla="*/ 1010032 h 5143498"/>
              <a:gd name="connsiteX70" fmla="*/ 4148159 w 9143997"/>
              <a:gd name="connsiteY70" fmla="*/ 968731 h 5143498"/>
              <a:gd name="connsiteX71" fmla="*/ 4106744 w 9143997"/>
              <a:gd name="connsiteY71" fmla="*/ 927430 h 5143498"/>
              <a:gd name="connsiteX72" fmla="*/ 5203813 w 9143997"/>
              <a:gd name="connsiteY72" fmla="*/ 927429 h 5143498"/>
              <a:gd name="connsiteX73" fmla="*/ 5162397 w 9143997"/>
              <a:gd name="connsiteY73" fmla="*/ 968731 h 5143498"/>
              <a:gd name="connsiteX74" fmla="*/ 5203813 w 9143997"/>
              <a:gd name="connsiteY74" fmla="*/ 1010032 h 5143498"/>
              <a:gd name="connsiteX75" fmla="*/ 5245229 w 9143997"/>
              <a:gd name="connsiteY75" fmla="*/ 1010032 h 5143498"/>
              <a:gd name="connsiteX76" fmla="*/ 5245229 w 9143997"/>
              <a:gd name="connsiteY76" fmla="*/ 968731 h 5143498"/>
              <a:gd name="connsiteX77" fmla="*/ 5203813 w 9143997"/>
              <a:gd name="connsiteY77" fmla="*/ 927429 h 5143498"/>
              <a:gd name="connsiteX78" fmla="*/ 4979338 w 9143997"/>
              <a:gd name="connsiteY78" fmla="*/ 927429 h 5143498"/>
              <a:gd name="connsiteX79" fmla="*/ 4937922 w 9143997"/>
              <a:gd name="connsiteY79" fmla="*/ 968731 h 5143498"/>
              <a:gd name="connsiteX80" fmla="*/ 4979338 w 9143997"/>
              <a:gd name="connsiteY80" fmla="*/ 1010032 h 5143498"/>
              <a:gd name="connsiteX81" fmla="*/ 5004708 w 9143997"/>
              <a:gd name="connsiteY81" fmla="*/ 1001391 h 5143498"/>
              <a:gd name="connsiteX82" fmla="*/ 5005532 w 9143997"/>
              <a:gd name="connsiteY82" fmla="*/ 994852 h 5143498"/>
              <a:gd name="connsiteX83" fmla="*/ 4998975 w 9143997"/>
              <a:gd name="connsiteY83" fmla="*/ 994031 h 5143498"/>
              <a:gd name="connsiteX84" fmla="*/ 4979338 w 9143997"/>
              <a:gd name="connsiteY84" fmla="*/ 1000733 h 5143498"/>
              <a:gd name="connsiteX85" fmla="*/ 4947609 w 9143997"/>
              <a:gd name="connsiteY85" fmla="*/ 973396 h 5143498"/>
              <a:gd name="connsiteX86" fmla="*/ 5016075 w 9143997"/>
              <a:gd name="connsiteY86" fmla="*/ 973396 h 5143498"/>
              <a:gd name="connsiteX87" fmla="*/ 5020754 w 9143997"/>
              <a:gd name="connsiteY87" fmla="*/ 968731 h 5143498"/>
              <a:gd name="connsiteX88" fmla="*/ 4979338 w 9143997"/>
              <a:gd name="connsiteY88" fmla="*/ 927429 h 5143498"/>
              <a:gd name="connsiteX89" fmla="*/ 4487489 w 9143997"/>
              <a:gd name="connsiteY89" fmla="*/ 927429 h 5143498"/>
              <a:gd name="connsiteX90" fmla="*/ 4446073 w 9143997"/>
              <a:gd name="connsiteY90" fmla="*/ 968731 h 5143498"/>
              <a:gd name="connsiteX91" fmla="*/ 4487489 w 9143997"/>
              <a:gd name="connsiteY91" fmla="*/ 1010032 h 5143498"/>
              <a:gd name="connsiteX92" fmla="*/ 4512859 w 9143997"/>
              <a:gd name="connsiteY92" fmla="*/ 1001391 h 5143498"/>
              <a:gd name="connsiteX93" fmla="*/ 4513683 w 9143997"/>
              <a:gd name="connsiteY93" fmla="*/ 994852 h 5143498"/>
              <a:gd name="connsiteX94" fmla="*/ 4507126 w 9143997"/>
              <a:gd name="connsiteY94" fmla="*/ 994031 h 5143498"/>
              <a:gd name="connsiteX95" fmla="*/ 4487489 w 9143997"/>
              <a:gd name="connsiteY95" fmla="*/ 1000734 h 5143498"/>
              <a:gd name="connsiteX96" fmla="*/ 4455760 w 9143997"/>
              <a:gd name="connsiteY96" fmla="*/ 973396 h 5143498"/>
              <a:gd name="connsiteX97" fmla="*/ 4524226 w 9143997"/>
              <a:gd name="connsiteY97" fmla="*/ 973396 h 5143498"/>
              <a:gd name="connsiteX98" fmla="*/ 4528905 w 9143997"/>
              <a:gd name="connsiteY98" fmla="*/ 968731 h 5143498"/>
              <a:gd name="connsiteX99" fmla="*/ 4487489 w 9143997"/>
              <a:gd name="connsiteY99" fmla="*/ 927429 h 5143498"/>
              <a:gd name="connsiteX100" fmla="*/ 4280839 w 9143997"/>
              <a:gd name="connsiteY100" fmla="*/ 927429 h 5143498"/>
              <a:gd name="connsiteX101" fmla="*/ 4239423 w 9143997"/>
              <a:gd name="connsiteY101" fmla="*/ 968731 h 5143498"/>
              <a:gd name="connsiteX102" fmla="*/ 4280839 w 9143997"/>
              <a:gd name="connsiteY102" fmla="*/ 1010032 h 5143498"/>
              <a:gd name="connsiteX103" fmla="*/ 4307198 w 9143997"/>
              <a:gd name="connsiteY103" fmla="*/ 1000570 h 5143498"/>
              <a:gd name="connsiteX104" fmla="*/ 4307824 w 9143997"/>
              <a:gd name="connsiteY104" fmla="*/ 993998 h 5143498"/>
              <a:gd name="connsiteX105" fmla="*/ 4301234 w 9143997"/>
              <a:gd name="connsiteY105" fmla="*/ 993374 h 5143498"/>
              <a:gd name="connsiteX106" fmla="*/ 4280839 w 9143997"/>
              <a:gd name="connsiteY106" fmla="*/ 1000701 h 5143498"/>
              <a:gd name="connsiteX107" fmla="*/ 4248748 w 9143997"/>
              <a:gd name="connsiteY107" fmla="*/ 968698 h 5143498"/>
              <a:gd name="connsiteX108" fmla="*/ 4280839 w 9143997"/>
              <a:gd name="connsiteY108" fmla="*/ 936728 h 5143498"/>
              <a:gd name="connsiteX109" fmla="*/ 4301234 w 9143997"/>
              <a:gd name="connsiteY109" fmla="*/ 944055 h 5143498"/>
              <a:gd name="connsiteX110" fmla="*/ 4307824 w 9143997"/>
              <a:gd name="connsiteY110" fmla="*/ 943431 h 5143498"/>
              <a:gd name="connsiteX111" fmla="*/ 4307198 w 9143997"/>
              <a:gd name="connsiteY111" fmla="*/ 936859 h 5143498"/>
              <a:gd name="connsiteX112" fmla="*/ 4280839 w 9143997"/>
              <a:gd name="connsiteY112" fmla="*/ 927429 h 5143498"/>
              <a:gd name="connsiteX113" fmla="*/ 3922070 w 9143997"/>
              <a:gd name="connsiteY113" fmla="*/ 927397 h 5143498"/>
              <a:gd name="connsiteX114" fmla="*/ 3880655 w 9143997"/>
              <a:gd name="connsiteY114" fmla="*/ 968699 h 5143498"/>
              <a:gd name="connsiteX115" fmla="*/ 3922070 w 9143997"/>
              <a:gd name="connsiteY115" fmla="*/ 1010000 h 5143498"/>
              <a:gd name="connsiteX116" fmla="*/ 3954129 w 9143997"/>
              <a:gd name="connsiteY116" fmla="*/ 994820 h 5143498"/>
              <a:gd name="connsiteX117" fmla="*/ 3954129 w 9143997"/>
              <a:gd name="connsiteY117" fmla="*/ 1005368 h 5143498"/>
              <a:gd name="connsiteX118" fmla="*/ 3922070 w 9143997"/>
              <a:gd name="connsiteY118" fmla="*/ 1037337 h 5143498"/>
              <a:gd name="connsiteX119" fmla="*/ 3892582 w 9143997"/>
              <a:gd name="connsiteY119" fmla="*/ 1017985 h 5143498"/>
              <a:gd name="connsiteX120" fmla="*/ 3886420 w 9143997"/>
              <a:gd name="connsiteY120" fmla="*/ 1015553 h 5143498"/>
              <a:gd name="connsiteX121" fmla="*/ 3883982 w 9143997"/>
              <a:gd name="connsiteY121" fmla="*/ 1021697 h 5143498"/>
              <a:gd name="connsiteX122" fmla="*/ 3922070 w 9143997"/>
              <a:gd name="connsiteY122" fmla="*/ 1046702 h 5143498"/>
              <a:gd name="connsiteX123" fmla="*/ 3963486 w 9143997"/>
              <a:gd name="connsiteY123" fmla="*/ 1005400 h 5143498"/>
              <a:gd name="connsiteX124" fmla="*/ 3963486 w 9143997"/>
              <a:gd name="connsiteY124" fmla="*/ 968731 h 5143498"/>
              <a:gd name="connsiteX125" fmla="*/ 3922070 w 9143997"/>
              <a:gd name="connsiteY125" fmla="*/ 927430 h 5143498"/>
              <a:gd name="connsiteX126" fmla="*/ 4335764 w 9143997"/>
              <a:gd name="connsiteY126" fmla="*/ 927396 h 5143498"/>
              <a:gd name="connsiteX127" fmla="*/ 4331085 w 9143997"/>
              <a:gd name="connsiteY127" fmla="*/ 932062 h 5143498"/>
              <a:gd name="connsiteX128" fmla="*/ 4331085 w 9143997"/>
              <a:gd name="connsiteY128" fmla="*/ 1005367 h 5143498"/>
              <a:gd name="connsiteX129" fmla="*/ 4335764 w 9143997"/>
              <a:gd name="connsiteY129" fmla="*/ 1010032 h 5143498"/>
              <a:gd name="connsiteX130" fmla="*/ 4340442 w 9143997"/>
              <a:gd name="connsiteY130" fmla="*/ 1005367 h 5143498"/>
              <a:gd name="connsiteX131" fmla="*/ 4340442 w 9143997"/>
              <a:gd name="connsiteY131" fmla="*/ 932062 h 5143498"/>
              <a:gd name="connsiteX132" fmla="*/ 4335764 w 9143997"/>
              <a:gd name="connsiteY132" fmla="*/ 927396 h 5143498"/>
              <a:gd name="connsiteX133" fmla="*/ 3986779 w 9143997"/>
              <a:gd name="connsiteY133" fmla="*/ 927396 h 5143498"/>
              <a:gd name="connsiteX134" fmla="*/ 3982100 w 9143997"/>
              <a:gd name="connsiteY134" fmla="*/ 932062 h 5143498"/>
              <a:gd name="connsiteX135" fmla="*/ 3982100 w 9143997"/>
              <a:gd name="connsiteY135" fmla="*/ 1005367 h 5143498"/>
              <a:gd name="connsiteX136" fmla="*/ 3986779 w 9143997"/>
              <a:gd name="connsiteY136" fmla="*/ 1010032 h 5143498"/>
              <a:gd name="connsiteX137" fmla="*/ 3991457 w 9143997"/>
              <a:gd name="connsiteY137" fmla="*/ 1005367 h 5143498"/>
              <a:gd name="connsiteX138" fmla="*/ 3991457 w 9143997"/>
              <a:gd name="connsiteY138" fmla="*/ 932062 h 5143498"/>
              <a:gd name="connsiteX139" fmla="*/ 3986779 w 9143997"/>
              <a:gd name="connsiteY139" fmla="*/ 927396 h 5143498"/>
              <a:gd name="connsiteX140" fmla="*/ 3856733 w 9143997"/>
              <a:gd name="connsiteY140" fmla="*/ 927396 h 5143498"/>
              <a:gd name="connsiteX141" fmla="*/ 3852087 w 9143997"/>
              <a:gd name="connsiteY141" fmla="*/ 932062 h 5143498"/>
              <a:gd name="connsiteX142" fmla="*/ 3852087 w 9143997"/>
              <a:gd name="connsiteY142" fmla="*/ 1005367 h 5143498"/>
              <a:gd name="connsiteX143" fmla="*/ 3856733 w 9143997"/>
              <a:gd name="connsiteY143" fmla="*/ 1010032 h 5143498"/>
              <a:gd name="connsiteX144" fmla="*/ 3861411 w 9143997"/>
              <a:gd name="connsiteY144" fmla="*/ 1005367 h 5143498"/>
              <a:gd name="connsiteX145" fmla="*/ 3861411 w 9143997"/>
              <a:gd name="connsiteY145" fmla="*/ 932062 h 5143498"/>
              <a:gd name="connsiteX146" fmla="*/ 3856733 w 9143997"/>
              <a:gd name="connsiteY146" fmla="*/ 927396 h 5143498"/>
              <a:gd name="connsiteX147" fmla="*/ 5139499 w 9143997"/>
              <a:gd name="connsiteY147" fmla="*/ 927396 h 5143498"/>
              <a:gd name="connsiteX148" fmla="*/ 5134820 w 9143997"/>
              <a:gd name="connsiteY148" fmla="*/ 932061 h 5143498"/>
              <a:gd name="connsiteX149" fmla="*/ 5134820 w 9143997"/>
              <a:gd name="connsiteY149" fmla="*/ 1005367 h 5143498"/>
              <a:gd name="connsiteX150" fmla="*/ 5139499 w 9143997"/>
              <a:gd name="connsiteY150" fmla="*/ 1010032 h 5143498"/>
              <a:gd name="connsiteX151" fmla="*/ 5144144 w 9143997"/>
              <a:gd name="connsiteY151" fmla="*/ 1005367 h 5143498"/>
              <a:gd name="connsiteX152" fmla="*/ 5144144 w 9143997"/>
              <a:gd name="connsiteY152" fmla="*/ 932061 h 5143498"/>
              <a:gd name="connsiteX153" fmla="*/ 5139499 w 9143997"/>
              <a:gd name="connsiteY153" fmla="*/ 927396 h 5143498"/>
              <a:gd name="connsiteX154" fmla="*/ 4840660 w 9143997"/>
              <a:gd name="connsiteY154" fmla="*/ 927362 h 5143498"/>
              <a:gd name="connsiteX155" fmla="*/ 4817859 w 9143997"/>
              <a:gd name="connsiteY155" fmla="*/ 936858 h 5143498"/>
              <a:gd name="connsiteX156" fmla="*/ 4817859 w 9143997"/>
              <a:gd name="connsiteY156" fmla="*/ 932127 h 5143498"/>
              <a:gd name="connsiteX157" fmla="*/ 4813181 w 9143997"/>
              <a:gd name="connsiteY157" fmla="*/ 927461 h 5143498"/>
              <a:gd name="connsiteX158" fmla="*/ 4808502 w 9143997"/>
              <a:gd name="connsiteY158" fmla="*/ 927461 h 5143498"/>
              <a:gd name="connsiteX159" fmla="*/ 4808502 w 9143997"/>
              <a:gd name="connsiteY159" fmla="*/ 932127 h 5143498"/>
              <a:gd name="connsiteX160" fmla="*/ 4808502 w 9143997"/>
              <a:gd name="connsiteY160" fmla="*/ 1005366 h 5143498"/>
              <a:gd name="connsiteX161" fmla="*/ 4813181 w 9143997"/>
              <a:gd name="connsiteY161" fmla="*/ 1010031 h 5143498"/>
              <a:gd name="connsiteX162" fmla="*/ 4817859 w 9143997"/>
              <a:gd name="connsiteY162" fmla="*/ 1005366 h 5143498"/>
              <a:gd name="connsiteX163" fmla="*/ 4817859 w 9143997"/>
              <a:gd name="connsiteY163" fmla="*/ 959464 h 5143498"/>
              <a:gd name="connsiteX164" fmla="*/ 4840660 w 9143997"/>
              <a:gd name="connsiteY164" fmla="*/ 936727 h 5143498"/>
              <a:gd name="connsiteX165" fmla="*/ 4863460 w 9143997"/>
              <a:gd name="connsiteY165" fmla="*/ 959464 h 5143498"/>
              <a:gd name="connsiteX166" fmla="*/ 4863460 w 9143997"/>
              <a:gd name="connsiteY166" fmla="*/ 1005366 h 5143498"/>
              <a:gd name="connsiteX167" fmla="*/ 4868138 w 9143997"/>
              <a:gd name="connsiteY167" fmla="*/ 1010031 h 5143498"/>
              <a:gd name="connsiteX168" fmla="*/ 4872817 w 9143997"/>
              <a:gd name="connsiteY168" fmla="*/ 1005366 h 5143498"/>
              <a:gd name="connsiteX169" fmla="*/ 4872817 w 9143997"/>
              <a:gd name="connsiteY169" fmla="*/ 959464 h 5143498"/>
              <a:gd name="connsiteX170" fmla="*/ 4895617 w 9143997"/>
              <a:gd name="connsiteY170" fmla="*/ 936727 h 5143498"/>
              <a:gd name="connsiteX171" fmla="*/ 4918417 w 9143997"/>
              <a:gd name="connsiteY171" fmla="*/ 959464 h 5143498"/>
              <a:gd name="connsiteX172" fmla="*/ 4918417 w 9143997"/>
              <a:gd name="connsiteY172" fmla="*/ 1005366 h 5143498"/>
              <a:gd name="connsiteX173" fmla="*/ 4923096 w 9143997"/>
              <a:gd name="connsiteY173" fmla="*/ 1010031 h 5143498"/>
              <a:gd name="connsiteX174" fmla="*/ 4927775 w 9143997"/>
              <a:gd name="connsiteY174" fmla="*/ 1005366 h 5143498"/>
              <a:gd name="connsiteX175" fmla="*/ 4927775 w 9143997"/>
              <a:gd name="connsiteY175" fmla="*/ 959464 h 5143498"/>
              <a:gd name="connsiteX176" fmla="*/ 4918343 w 9143997"/>
              <a:gd name="connsiteY176" fmla="*/ 936784 h 5143498"/>
              <a:gd name="connsiteX177" fmla="*/ 4895630 w 9143997"/>
              <a:gd name="connsiteY177" fmla="*/ 927367 h 5143498"/>
              <a:gd name="connsiteX178" fmla="*/ 4895650 w 9143997"/>
              <a:gd name="connsiteY178" fmla="*/ 927362 h 5143498"/>
              <a:gd name="connsiteX179" fmla="*/ 4895617 w 9143997"/>
              <a:gd name="connsiteY179" fmla="*/ 927362 h 5143498"/>
              <a:gd name="connsiteX180" fmla="*/ 4895630 w 9143997"/>
              <a:gd name="connsiteY180" fmla="*/ 927367 h 5143498"/>
              <a:gd name="connsiteX181" fmla="*/ 4879662 w 9143997"/>
              <a:gd name="connsiteY181" fmla="*/ 931642 h 5143498"/>
              <a:gd name="connsiteX182" fmla="*/ 4868172 w 9143997"/>
              <a:gd name="connsiteY182" fmla="*/ 942871 h 5143498"/>
              <a:gd name="connsiteX183" fmla="*/ 4840660 w 9143997"/>
              <a:gd name="connsiteY183" fmla="*/ 927362 h 5143498"/>
              <a:gd name="connsiteX184" fmla="*/ 4571572 w 9143997"/>
              <a:gd name="connsiteY184" fmla="*/ 927362 h 5143498"/>
              <a:gd name="connsiteX185" fmla="*/ 4548772 w 9143997"/>
              <a:gd name="connsiteY185" fmla="*/ 936858 h 5143498"/>
              <a:gd name="connsiteX186" fmla="*/ 4548772 w 9143997"/>
              <a:gd name="connsiteY186" fmla="*/ 932127 h 5143498"/>
              <a:gd name="connsiteX187" fmla="*/ 4544094 w 9143997"/>
              <a:gd name="connsiteY187" fmla="*/ 927461 h 5143498"/>
              <a:gd name="connsiteX188" fmla="*/ 4539415 w 9143997"/>
              <a:gd name="connsiteY188" fmla="*/ 927461 h 5143498"/>
              <a:gd name="connsiteX189" fmla="*/ 4539415 w 9143997"/>
              <a:gd name="connsiteY189" fmla="*/ 932127 h 5143498"/>
              <a:gd name="connsiteX190" fmla="*/ 4539415 w 9143997"/>
              <a:gd name="connsiteY190" fmla="*/ 1005366 h 5143498"/>
              <a:gd name="connsiteX191" fmla="*/ 4544094 w 9143997"/>
              <a:gd name="connsiteY191" fmla="*/ 1010032 h 5143498"/>
              <a:gd name="connsiteX192" fmla="*/ 4548772 w 9143997"/>
              <a:gd name="connsiteY192" fmla="*/ 1005366 h 5143498"/>
              <a:gd name="connsiteX193" fmla="*/ 4548772 w 9143997"/>
              <a:gd name="connsiteY193" fmla="*/ 959464 h 5143498"/>
              <a:gd name="connsiteX194" fmla="*/ 4571572 w 9143997"/>
              <a:gd name="connsiteY194" fmla="*/ 936727 h 5143498"/>
              <a:gd name="connsiteX195" fmla="*/ 4594373 w 9143997"/>
              <a:gd name="connsiteY195" fmla="*/ 959464 h 5143498"/>
              <a:gd name="connsiteX196" fmla="*/ 4594373 w 9143997"/>
              <a:gd name="connsiteY196" fmla="*/ 1005366 h 5143498"/>
              <a:gd name="connsiteX197" fmla="*/ 4599051 w 9143997"/>
              <a:gd name="connsiteY197" fmla="*/ 1010032 h 5143498"/>
              <a:gd name="connsiteX198" fmla="*/ 4603730 w 9143997"/>
              <a:gd name="connsiteY198" fmla="*/ 1005366 h 5143498"/>
              <a:gd name="connsiteX199" fmla="*/ 4603730 w 9143997"/>
              <a:gd name="connsiteY199" fmla="*/ 959464 h 5143498"/>
              <a:gd name="connsiteX200" fmla="*/ 4626530 w 9143997"/>
              <a:gd name="connsiteY200" fmla="*/ 936727 h 5143498"/>
              <a:gd name="connsiteX201" fmla="*/ 4649330 w 9143997"/>
              <a:gd name="connsiteY201" fmla="*/ 959464 h 5143498"/>
              <a:gd name="connsiteX202" fmla="*/ 4649330 w 9143997"/>
              <a:gd name="connsiteY202" fmla="*/ 1005366 h 5143498"/>
              <a:gd name="connsiteX203" fmla="*/ 4654042 w 9143997"/>
              <a:gd name="connsiteY203" fmla="*/ 1010032 h 5143498"/>
              <a:gd name="connsiteX204" fmla="*/ 4658688 w 9143997"/>
              <a:gd name="connsiteY204" fmla="*/ 1005366 h 5143498"/>
              <a:gd name="connsiteX205" fmla="*/ 4658688 w 9143997"/>
              <a:gd name="connsiteY205" fmla="*/ 959464 h 5143498"/>
              <a:gd name="connsiteX206" fmla="*/ 4626530 w 9143997"/>
              <a:gd name="connsiteY206" fmla="*/ 927362 h 5143498"/>
              <a:gd name="connsiteX207" fmla="*/ 4599051 w 9143997"/>
              <a:gd name="connsiteY207" fmla="*/ 942871 h 5143498"/>
              <a:gd name="connsiteX208" fmla="*/ 4571572 w 9143997"/>
              <a:gd name="connsiteY208" fmla="*/ 927362 h 5143498"/>
              <a:gd name="connsiteX209" fmla="*/ 5134820 w 9143997"/>
              <a:gd name="connsiteY209" fmla="*/ 902358 h 5143498"/>
              <a:gd name="connsiteX210" fmla="*/ 5134820 w 9143997"/>
              <a:gd name="connsiteY210" fmla="*/ 907024 h 5143498"/>
              <a:gd name="connsiteX211" fmla="*/ 5139499 w 9143997"/>
              <a:gd name="connsiteY211" fmla="*/ 911690 h 5143498"/>
              <a:gd name="connsiteX212" fmla="*/ 5144144 w 9143997"/>
              <a:gd name="connsiteY212" fmla="*/ 907024 h 5143498"/>
              <a:gd name="connsiteX213" fmla="*/ 5139499 w 9143997"/>
              <a:gd name="connsiteY213" fmla="*/ 902358 h 5143498"/>
              <a:gd name="connsiteX214" fmla="*/ 4331085 w 9143997"/>
              <a:gd name="connsiteY214" fmla="*/ 902358 h 5143498"/>
              <a:gd name="connsiteX215" fmla="*/ 4331085 w 9143997"/>
              <a:gd name="connsiteY215" fmla="*/ 907024 h 5143498"/>
              <a:gd name="connsiteX216" fmla="*/ 4335764 w 9143997"/>
              <a:gd name="connsiteY216" fmla="*/ 911690 h 5143498"/>
              <a:gd name="connsiteX217" fmla="*/ 4340442 w 9143997"/>
              <a:gd name="connsiteY217" fmla="*/ 907024 h 5143498"/>
              <a:gd name="connsiteX218" fmla="*/ 4335764 w 9143997"/>
              <a:gd name="connsiteY218" fmla="*/ 902358 h 5143498"/>
              <a:gd name="connsiteX219" fmla="*/ 3982099 w 9143997"/>
              <a:gd name="connsiteY219" fmla="*/ 902358 h 5143498"/>
              <a:gd name="connsiteX220" fmla="*/ 3982099 w 9143997"/>
              <a:gd name="connsiteY220" fmla="*/ 907024 h 5143498"/>
              <a:gd name="connsiteX221" fmla="*/ 3986778 w 9143997"/>
              <a:gd name="connsiteY221" fmla="*/ 911690 h 5143498"/>
              <a:gd name="connsiteX222" fmla="*/ 3991456 w 9143997"/>
              <a:gd name="connsiteY222" fmla="*/ 907024 h 5143498"/>
              <a:gd name="connsiteX223" fmla="*/ 3986778 w 9143997"/>
              <a:gd name="connsiteY223" fmla="*/ 902358 h 5143498"/>
              <a:gd name="connsiteX224" fmla="*/ 3852086 w 9143997"/>
              <a:gd name="connsiteY224" fmla="*/ 902358 h 5143498"/>
              <a:gd name="connsiteX225" fmla="*/ 3852086 w 9143997"/>
              <a:gd name="connsiteY225" fmla="*/ 907024 h 5143498"/>
              <a:gd name="connsiteX226" fmla="*/ 3856764 w 9143997"/>
              <a:gd name="connsiteY226" fmla="*/ 911690 h 5143498"/>
              <a:gd name="connsiteX227" fmla="*/ 3861410 w 9143997"/>
              <a:gd name="connsiteY227" fmla="*/ 907024 h 5143498"/>
              <a:gd name="connsiteX228" fmla="*/ 3856764 w 9143997"/>
              <a:gd name="connsiteY228" fmla="*/ 902358 h 5143498"/>
              <a:gd name="connsiteX229" fmla="*/ 5111723 w 9143997"/>
              <a:gd name="connsiteY229" fmla="*/ 892469 h 5143498"/>
              <a:gd name="connsiteX230" fmla="*/ 5107044 w 9143997"/>
              <a:gd name="connsiteY230" fmla="*/ 897135 h 5143498"/>
              <a:gd name="connsiteX231" fmla="*/ 5107044 w 9143997"/>
              <a:gd name="connsiteY231" fmla="*/ 942610 h 5143498"/>
              <a:gd name="connsiteX232" fmla="*/ 5074953 w 9143997"/>
              <a:gd name="connsiteY232" fmla="*/ 927430 h 5143498"/>
              <a:gd name="connsiteX233" fmla="*/ 5033537 w 9143997"/>
              <a:gd name="connsiteY233" fmla="*/ 968731 h 5143498"/>
              <a:gd name="connsiteX234" fmla="*/ 5074953 w 9143997"/>
              <a:gd name="connsiteY234" fmla="*/ 1010033 h 5143498"/>
              <a:gd name="connsiteX235" fmla="*/ 5116402 w 9143997"/>
              <a:gd name="connsiteY235" fmla="*/ 1010033 h 5143498"/>
              <a:gd name="connsiteX236" fmla="*/ 5116402 w 9143997"/>
              <a:gd name="connsiteY236" fmla="*/ 897135 h 5143498"/>
              <a:gd name="connsiteX237" fmla="*/ 5111723 w 9143997"/>
              <a:gd name="connsiteY237" fmla="*/ 892469 h 5143498"/>
              <a:gd name="connsiteX238" fmla="*/ 3829058 w 9143997"/>
              <a:gd name="connsiteY238" fmla="*/ 892469 h 5143498"/>
              <a:gd name="connsiteX239" fmla="*/ 3824380 w 9143997"/>
              <a:gd name="connsiteY239" fmla="*/ 897135 h 5143498"/>
              <a:gd name="connsiteX240" fmla="*/ 3824380 w 9143997"/>
              <a:gd name="connsiteY240" fmla="*/ 942610 h 5143498"/>
              <a:gd name="connsiteX241" fmla="*/ 3792321 w 9143997"/>
              <a:gd name="connsiteY241" fmla="*/ 927430 h 5143498"/>
              <a:gd name="connsiteX242" fmla="*/ 3750906 w 9143997"/>
              <a:gd name="connsiteY242" fmla="*/ 968731 h 5143498"/>
              <a:gd name="connsiteX243" fmla="*/ 3792321 w 9143997"/>
              <a:gd name="connsiteY243" fmla="*/ 1010033 h 5143498"/>
              <a:gd name="connsiteX244" fmla="*/ 3833737 w 9143997"/>
              <a:gd name="connsiteY244" fmla="*/ 1010033 h 5143498"/>
              <a:gd name="connsiteX245" fmla="*/ 3833737 w 9143997"/>
              <a:gd name="connsiteY245" fmla="*/ 897135 h 5143498"/>
              <a:gd name="connsiteX246" fmla="*/ 3829058 w 9143997"/>
              <a:gd name="connsiteY246" fmla="*/ 892469 h 5143498"/>
              <a:gd name="connsiteX247" fmla="*/ 4165093 w 9143997"/>
              <a:gd name="connsiteY247" fmla="*/ 892469 h 5143498"/>
              <a:gd name="connsiteX248" fmla="*/ 4160415 w 9143997"/>
              <a:gd name="connsiteY248" fmla="*/ 897134 h 5143498"/>
              <a:gd name="connsiteX249" fmla="*/ 4160415 w 9143997"/>
              <a:gd name="connsiteY249" fmla="*/ 998236 h 5143498"/>
              <a:gd name="connsiteX250" fmla="*/ 4172243 w 9143997"/>
              <a:gd name="connsiteY250" fmla="*/ 1010032 h 5143498"/>
              <a:gd name="connsiteX251" fmla="*/ 4176922 w 9143997"/>
              <a:gd name="connsiteY251" fmla="*/ 1005366 h 5143498"/>
              <a:gd name="connsiteX252" fmla="*/ 4172243 w 9143997"/>
              <a:gd name="connsiteY252" fmla="*/ 1000701 h 5143498"/>
              <a:gd name="connsiteX253" fmla="*/ 4169772 w 9143997"/>
              <a:gd name="connsiteY253" fmla="*/ 998236 h 5143498"/>
              <a:gd name="connsiteX254" fmla="*/ 4169772 w 9143997"/>
              <a:gd name="connsiteY254" fmla="*/ 897134 h 5143498"/>
              <a:gd name="connsiteX255" fmla="*/ 4165093 w 9143997"/>
              <a:gd name="connsiteY255" fmla="*/ 892469 h 5143498"/>
              <a:gd name="connsiteX256" fmla="*/ 4027667 w 9143997"/>
              <a:gd name="connsiteY256" fmla="*/ 892436 h 5143498"/>
              <a:gd name="connsiteX257" fmla="*/ 4022989 w 9143997"/>
              <a:gd name="connsiteY257" fmla="*/ 897101 h 5143498"/>
              <a:gd name="connsiteX258" fmla="*/ 4022989 w 9143997"/>
              <a:gd name="connsiteY258" fmla="*/ 927396 h 5143498"/>
              <a:gd name="connsiteX259" fmla="*/ 4015147 w 9143997"/>
              <a:gd name="connsiteY259" fmla="*/ 927396 h 5143498"/>
              <a:gd name="connsiteX260" fmla="*/ 4010469 w 9143997"/>
              <a:gd name="connsiteY260" fmla="*/ 932062 h 5143498"/>
              <a:gd name="connsiteX261" fmla="*/ 4015147 w 9143997"/>
              <a:gd name="connsiteY261" fmla="*/ 936727 h 5143498"/>
              <a:gd name="connsiteX262" fmla="*/ 4022989 w 9143997"/>
              <a:gd name="connsiteY262" fmla="*/ 936727 h 5143498"/>
              <a:gd name="connsiteX263" fmla="*/ 4022989 w 9143997"/>
              <a:gd name="connsiteY263" fmla="*/ 985225 h 5143498"/>
              <a:gd name="connsiteX264" fmla="*/ 4047831 w 9143997"/>
              <a:gd name="connsiteY264" fmla="*/ 1009999 h 5143498"/>
              <a:gd name="connsiteX265" fmla="*/ 4053367 w 9143997"/>
              <a:gd name="connsiteY265" fmla="*/ 1009374 h 5143498"/>
              <a:gd name="connsiteX266" fmla="*/ 4056877 w 9143997"/>
              <a:gd name="connsiteY266" fmla="*/ 1003812 h 5143498"/>
              <a:gd name="connsiteX267" fmla="*/ 4056892 w 9143997"/>
              <a:gd name="connsiteY267" fmla="*/ 1003822 h 5143498"/>
              <a:gd name="connsiteX268" fmla="*/ 4056892 w 9143997"/>
              <a:gd name="connsiteY268" fmla="*/ 1003789 h 5143498"/>
              <a:gd name="connsiteX269" fmla="*/ 4056877 w 9143997"/>
              <a:gd name="connsiteY269" fmla="*/ 1003812 h 5143498"/>
              <a:gd name="connsiteX270" fmla="*/ 4051291 w 9143997"/>
              <a:gd name="connsiteY270" fmla="*/ 1000306 h 5143498"/>
              <a:gd name="connsiteX271" fmla="*/ 4047831 w 9143997"/>
              <a:gd name="connsiteY271" fmla="*/ 1000701 h 5143498"/>
              <a:gd name="connsiteX272" fmla="*/ 4032346 w 9143997"/>
              <a:gd name="connsiteY272" fmla="*/ 985225 h 5143498"/>
              <a:gd name="connsiteX273" fmla="*/ 4032346 w 9143997"/>
              <a:gd name="connsiteY273" fmla="*/ 936727 h 5143498"/>
              <a:gd name="connsiteX274" fmla="*/ 4045525 w 9143997"/>
              <a:gd name="connsiteY274" fmla="*/ 936727 h 5143498"/>
              <a:gd name="connsiteX275" fmla="*/ 4050204 w 9143997"/>
              <a:gd name="connsiteY275" fmla="*/ 932062 h 5143498"/>
              <a:gd name="connsiteX276" fmla="*/ 4045525 w 9143997"/>
              <a:gd name="connsiteY276" fmla="*/ 927396 h 5143498"/>
              <a:gd name="connsiteX277" fmla="*/ 4032346 w 9143997"/>
              <a:gd name="connsiteY277" fmla="*/ 927396 h 5143498"/>
              <a:gd name="connsiteX278" fmla="*/ 4032346 w 9143997"/>
              <a:gd name="connsiteY278" fmla="*/ 897101 h 5143498"/>
              <a:gd name="connsiteX279" fmla="*/ 4027667 w 9143997"/>
              <a:gd name="connsiteY279" fmla="*/ 892436 h 5143498"/>
              <a:gd name="connsiteX280" fmla="*/ 4569613 w 9143997"/>
              <a:gd name="connsiteY280" fmla="*/ 674214 h 5143498"/>
              <a:gd name="connsiteX281" fmla="*/ 4569629 w 9143997"/>
              <a:gd name="connsiteY281" fmla="*/ 674297 h 5143498"/>
              <a:gd name="connsiteX282" fmla="*/ 4569613 w 9143997"/>
              <a:gd name="connsiteY282" fmla="*/ 674380 h 5143498"/>
              <a:gd name="connsiteX283" fmla="*/ 4569596 w 9143997"/>
              <a:gd name="connsiteY283" fmla="*/ 674297 h 5143498"/>
              <a:gd name="connsiteX284" fmla="*/ 3997127 w 9143997"/>
              <a:gd name="connsiteY284" fmla="*/ 528871 h 5143498"/>
              <a:gd name="connsiteX285" fmla="*/ 3997127 w 9143997"/>
              <a:gd name="connsiteY285" fmla="*/ 674297 h 5143498"/>
              <a:gd name="connsiteX286" fmla="*/ 4140253 w 9143997"/>
              <a:gd name="connsiteY286" fmla="*/ 819757 h 5143498"/>
              <a:gd name="connsiteX287" fmla="*/ 4283376 w 9143997"/>
              <a:gd name="connsiteY287" fmla="*/ 674297 h 5143498"/>
              <a:gd name="connsiteX288" fmla="*/ 4426503 w 9143997"/>
              <a:gd name="connsiteY288" fmla="*/ 819757 h 5143498"/>
              <a:gd name="connsiteX289" fmla="*/ 4558381 w 9143997"/>
              <a:gd name="connsiteY289" fmla="*/ 730931 h 5143498"/>
              <a:gd name="connsiteX290" fmla="*/ 4569613 w 9143997"/>
              <a:gd name="connsiteY290" fmla="*/ 674380 h 5143498"/>
              <a:gd name="connsiteX291" fmla="*/ 4580840 w 9143997"/>
              <a:gd name="connsiteY291" fmla="*/ 730917 h 5143498"/>
              <a:gd name="connsiteX292" fmla="*/ 4712723 w 9143997"/>
              <a:gd name="connsiteY292" fmla="*/ 819757 h 5143498"/>
              <a:gd name="connsiteX293" fmla="*/ 4784286 w 9143997"/>
              <a:gd name="connsiteY293" fmla="*/ 800272 h 5143498"/>
              <a:gd name="connsiteX294" fmla="*/ 4855849 w 9143997"/>
              <a:gd name="connsiteY294" fmla="*/ 819757 h 5143498"/>
              <a:gd name="connsiteX295" fmla="*/ 4998976 w 9143997"/>
              <a:gd name="connsiteY295" fmla="*/ 674297 h 5143498"/>
              <a:gd name="connsiteX296" fmla="*/ 4855882 w 9143997"/>
              <a:gd name="connsiteY296" fmla="*/ 528871 h 5143498"/>
              <a:gd name="connsiteX297" fmla="*/ 4784319 w 9143997"/>
              <a:gd name="connsiteY297" fmla="*/ 548322 h 5143498"/>
              <a:gd name="connsiteX298" fmla="*/ 4784286 w 9143997"/>
              <a:gd name="connsiteY298" fmla="*/ 548322 h 5143498"/>
              <a:gd name="connsiteX299" fmla="*/ 4712723 w 9143997"/>
              <a:gd name="connsiteY299" fmla="*/ 528871 h 5143498"/>
              <a:gd name="connsiteX300" fmla="*/ 4580840 w 9143997"/>
              <a:gd name="connsiteY300" fmla="*/ 617682 h 5143498"/>
              <a:gd name="connsiteX301" fmla="*/ 4569613 w 9143997"/>
              <a:gd name="connsiteY301" fmla="*/ 674214 h 5143498"/>
              <a:gd name="connsiteX302" fmla="*/ 4558377 w 9143997"/>
              <a:gd name="connsiteY302" fmla="*/ 617669 h 5143498"/>
              <a:gd name="connsiteX303" fmla="*/ 4426503 w 9143997"/>
              <a:gd name="connsiteY303" fmla="*/ 528871 h 5143498"/>
              <a:gd name="connsiteX304" fmla="*/ 4283376 w 9143997"/>
              <a:gd name="connsiteY304" fmla="*/ 674297 h 5143498"/>
              <a:gd name="connsiteX305" fmla="*/ 4140253 w 9143997"/>
              <a:gd name="connsiteY305" fmla="*/ 528871 h 5143498"/>
              <a:gd name="connsiteX306" fmla="*/ 0 w 9143997"/>
              <a:gd name="connsiteY306" fmla="*/ 0 h 5143498"/>
              <a:gd name="connsiteX307" fmla="*/ 9143997 w 9143997"/>
              <a:gd name="connsiteY307" fmla="*/ 0 h 5143498"/>
              <a:gd name="connsiteX308" fmla="*/ 9143997 w 9143997"/>
              <a:gd name="connsiteY308" fmla="*/ 5143498 h 5143498"/>
              <a:gd name="connsiteX309" fmla="*/ 0 w 9143997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3997" h="5143498">
                <a:moveTo>
                  <a:pt x="5074986" y="936728"/>
                </a:moveTo>
                <a:cubicBezTo>
                  <a:pt x="5092679" y="936728"/>
                  <a:pt x="5107077" y="951087"/>
                  <a:pt x="5107077" y="968699"/>
                </a:cubicBezTo>
                <a:lnTo>
                  <a:pt x="5107077" y="1000702"/>
                </a:lnTo>
                <a:lnTo>
                  <a:pt x="5074986" y="1000702"/>
                </a:lnTo>
                <a:cubicBezTo>
                  <a:pt x="5057326" y="1000702"/>
                  <a:pt x="5042927" y="986310"/>
                  <a:pt x="5042927" y="968699"/>
                </a:cubicBezTo>
                <a:cubicBezTo>
                  <a:pt x="5042927" y="951087"/>
                  <a:pt x="5057326" y="936728"/>
                  <a:pt x="5074986" y="936728"/>
                </a:cubicBezTo>
                <a:close/>
                <a:moveTo>
                  <a:pt x="4106711" y="936728"/>
                </a:moveTo>
                <a:cubicBezTo>
                  <a:pt x="4124404" y="936728"/>
                  <a:pt x="4138770" y="951087"/>
                  <a:pt x="4138770" y="968698"/>
                </a:cubicBezTo>
                <a:lnTo>
                  <a:pt x="4138770" y="1000701"/>
                </a:lnTo>
                <a:lnTo>
                  <a:pt x="4106711" y="1000701"/>
                </a:lnTo>
                <a:cubicBezTo>
                  <a:pt x="4089018" y="1000701"/>
                  <a:pt x="4074653" y="986310"/>
                  <a:pt x="4074653" y="968698"/>
                </a:cubicBezTo>
                <a:cubicBezTo>
                  <a:pt x="4074653" y="951087"/>
                  <a:pt x="4089018" y="936728"/>
                  <a:pt x="4106711" y="936728"/>
                </a:cubicBezTo>
                <a:close/>
                <a:moveTo>
                  <a:pt x="3792321" y="936728"/>
                </a:moveTo>
                <a:cubicBezTo>
                  <a:pt x="3809981" y="936728"/>
                  <a:pt x="3824380" y="951087"/>
                  <a:pt x="3824380" y="968699"/>
                </a:cubicBezTo>
                <a:lnTo>
                  <a:pt x="3824380" y="1000702"/>
                </a:lnTo>
                <a:lnTo>
                  <a:pt x="3792321" y="1000702"/>
                </a:lnTo>
                <a:cubicBezTo>
                  <a:pt x="3774661" y="1000702"/>
                  <a:pt x="3760263" y="986310"/>
                  <a:pt x="3760263" y="968699"/>
                </a:cubicBezTo>
                <a:cubicBezTo>
                  <a:pt x="3760263" y="951087"/>
                  <a:pt x="3774661" y="936728"/>
                  <a:pt x="3792321" y="936728"/>
                </a:cubicBezTo>
                <a:close/>
                <a:moveTo>
                  <a:pt x="5203813" y="936728"/>
                </a:moveTo>
                <a:cubicBezTo>
                  <a:pt x="5221507" y="936728"/>
                  <a:pt x="5235905" y="951087"/>
                  <a:pt x="5235905" y="968698"/>
                </a:cubicBezTo>
                <a:lnTo>
                  <a:pt x="5235905" y="1000701"/>
                </a:lnTo>
                <a:lnTo>
                  <a:pt x="5203813" y="1000701"/>
                </a:lnTo>
                <a:cubicBezTo>
                  <a:pt x="5186153" y="1000701"/>
                  <a:pt x="5171754" y="986310"/>
                  <a:pt x="5171754" y="968698"/>
                </a:cubicBezTo>
                <a:cubicBezTo>
                  <a:pt x="5171754" y="951087"/>
                  <a:pt x="5186120" y="936728"/>
                  <a:pt x="5203813" y="936728"/>
                </a:cubicBezTo>
                <a:close/>
                <a:moveTo>
                  <a:pt x="4979338" y="936728"/>
                </a:moveTo>
                <a:cubicBezTo>
                  <a:pt x="4995417" y="936728"/>
                  <a:pt x="5008794" y="948622"/>
                  <a:pt x="5011068" y="964032"/>
                </a:cubicBezTo>
                <a:lnTo>
                  <a:pt x="4947609" y="964032"/>
                </a:lnTo>
                <a:cubicBezTo>
                  <a:pt x="4949882" y="948622"/>
                  <a:pt x="4963260" y="936728"/>
                  <a:pt x="4979338" y="936728"/>
                </a:cubicBezTo>
                <a:close/>
                <a:moveTo>
                  <a:pt x="4711866" y="936728"/>
                </a:moveTo>
                <a:cubicBezTo>
                  <a:pt x="4729559" y="936728"/>
                  <a:pt x="4743957" y="951087"/>
                  <a:pt x="4743957" y="968698"/>
                </a:cubicBezTo>
                <a:lnTo>
                  <a:pt x="4743957" y="1000701"/>
                </a:lnTo>
                <a:lnTo>
                  <a:pt x="4711866" y="1000701"/>
                </a:lnTo>
                <a:cubicBezTo>
                  <a:pt x="4694206" y="1000701"/>
                  <a:pt x="4679807" y="986310"/>
                  <a:pt x="4679807" y="968698"/>
                </a:cubicBezTo>
                <a:cubicBezTo>
                  <a:pt x="4679807" y="951087"/>
                  <a:pt x="4694206" y="936728"/>
                  <a:pt x="4711866" y="936728"/>
                </a:cubicBezTo>
                <a:close/>
                <a:moveTo>
                  <a:pt x="4487489" y="936728"/>
                </a:moveTo>
                <a:cubicBezTo>
                  <a:pt x="4503567" y="936728"/>
                  <a:pt x="4516944" y="948622"/>
                  <a:pt x="4519218" y="964032"/>
                </a:cubicBezTo>
                <a:lnTo>
                  <a:pt x="4455760" y="964032"/>
                </a:lnTo>
                <a:cubicBezTo>
                  <a:pt x="4458000" y="948622"/>
                  <a:pt x="4471410" y="936728"/>
                  <a:pt x="4487489" y="936728"/>
                </a:cubicBezTo>
                <a:close/>
                <a:moveTo>
                  <a:pt x="3922070" y="936728"/>
                </a:moveTo>
                <a:cubicBezTo>
                  <a:pt x="3939730" y="936728"/>
                  <a:pt x="3954129" y="951054"/>
                  <a:pt x="3954129" y="968699"/>
                </a:cubicBezTo>
                <a:cubicBezTo>
                  <a:pt x="3954129" y="986342"/>
                  <a:pt x="3939730" y="1000701"/>
                  <a:pt x="3922070" y="1000701"/>
                </a:cubicBezTo>
                <a:cubicBezTo>
                  <a:pt x="3904410" y="1000701"/>
                  <a:pt x="3890012" y="986342"/>
                  <a:pt x="3890012" y="968699"/>
                </a:cubicBezTo>
                <a:cubicBezTo>
                  <a:pt x="3890012" y="951054"/>
                  <a:pt x="3904410" y="936728"/>
                  <a:pt x="3922070" y="936728"/>
                </a:cubicBezTo>
                <a:close/>
                <a:moveTo>
                  <a:pt x="4357344" y="927461"/>
                </a:moveTo>
                <a:lnTo>
                  <a:pt x="4357344" y="1005366"/>
                </a:lnTo>
                <a:cubicBezTo>
                  <a:pt x="4357344" y="1007929"/>
                  <a:pt x="4359453" y="1010031"/>
                  <a:pt x="4362023" y="1010031"/>
                </a:cubicBezTo>
                <a:cubicBezTo>
                  <a:pt x="4364593" y="1010031"/>
                  <a:pt x="4366701" y="1007929"/>
                  <a:pt x="4366701" y="1005366"/>
                </a:cubicBezTo>
                <a:lnTo>
                  <a:pt x="4366701" y="975893"/>
                </a:lnTo>
                <a:lnTo>
                  <a:pt x="4366701" y="965313"/>
                </a:lnTo>
                <a:cubicBezTo>
                  <a:pt x="4366701" y="949574"/>
                  <a:pt x="4379551" y="936793"/>
                  <a:pt x="4395333" y="936793"/>
                </a:cubicBezTo>
                <a:cubicBezTo>
                  <a:pt x="4411116" y="936793"/>
                  <a:pt x="4423965" y="949607"/>
                  <a:pt x="4423965" y="965346"/>
                </a:cubicBezTo>
                <a:lnTo>
                  <a:pt x="4423965" y="1005366"/>
                </a:lnTo>
                <a:cubicBezTo>
                  <a:pt x="4423965" y="1007929"/>
                  <a:pt x="4426074" y="1010031"/>
                  <a:pt x="4428644" y="1010031"/>
                </a:cubicBezTo>
                <a:cubicBezTo>
                  <a:pt x="4431214" y="1010031"/>
                  <a:pt x="4433323" y="1007929"/>
                  <a:pt x="4433323" y="1005366"/>
                </a:cubicBezTo>
                <a:lnTo>
                  <a:pt x="4433323" y="965346"/>
                </a:lnTo>
                <a:cubicBezTo>
                  <a:pt x="4433323" y="944449"/>
                  <a:pt x="4416288" y="927461"/>
                  <a:pt x="4395366" y="927461"/>
                </a:cubicBezTo>
                <a:lnTo>
                  <a:pt x="4395333" y="927461"/>
                </a:lnTo>
                <a:cubicBezTo>
                  <a:pt x="4383901" y="927461"/>
                  <a:pt x="4373687" y="932522"/>
                  <a:pt x="4366701" y="940473"/>
                </a:cubicBezTo>
                <a:lnTo>
                  <a:pt x="4366701" y="932127"/>
                </a:lnTo>
                <a:cubicBezTo>
                  <a:pt x="4366701" y="929531"/>
                  <a:pt x="4364626" y="927461"/>
                  <a:pt x="4362023" y="927461"/>
                </a:cubicBezTo>
                <a:close/>
                <a:moveTo>
                  <a:pt x="4711833" y="927430"/>
                </a:moveTo>
                <a:cubicBezTo>
                  <a:pt x="4689000" y="927430"/>
                  <a:pt x="4670417" y="945961"/>
                  <a:pt x="4670417" y="968731"/>
                </a:cubicBezTo>
                <a:cubicBezTo>
                  <a:pt x="4670417" y="991501"/>
                  <a:pt x="4689000" y="1010032"/>
                  <a:pt x="4711833" y="1010032"/>
                </a:cubicBezTo>
                <a:lnTo>
                  <a:pt x="4753281" y="1010032"/>
                </a:lnTo>
                <a:lnTo>
                  <a:pt x="4753281" y="968731"/>
                </a:lnTo>
                <a:cubicBezTo>
                  <a:pt x="4753281" y="945961"/>
                  <a:pt x="4734666" y="927430"/>
                  <a:pt x="4711833" y="927430"/>
                </a:cubicBezTo>
                <a:close/>
                <a:moveTo>
                  <a:pt x="4106744" y="927430"/>
                </a:moveTo>
                <a:cubicBezTo>
                  <a:pt x="4083944" y="927430"/>
                  <a:pt x="4065328" y="945961"/>
                  <a:pt x="4065328" y="968731"/>
                </a:cubicBezTo>
                <a:cubicBezTo>
                  <a:pt x="4065328" y="991501"/>
                  <a:pt x="4083911" y="1010032"/>
                  <a:pt x="4106744" y="1010032"/>
                </a:cubicBezTo>
                <a:lnTo>
                  <a:pt x="4148159" y="1010032"/>
                </a:lnTo>
                <a:lnTo>
                  <a:pt x="4148159" y="968731"/>
                </a:lnTo>
                <a:cubicBezTo>
                  <a:pt x="4148159" y="945961"/>
                  <a:pt x="4129544" y="927430"/>
                  <a:pt x="4106744" y="927430"/>
                </a:cubicBezTo>
                <a:close/>
                <a:moveTo>
                  <a:pt x="5203813" y="927429"/>
                </a:moveTo>
                <a:cubicBezTo>
                  <a:pt x="5180980" y="927429"/>
                  <a:pt x="5162397" y="945961"/>
                  <a:pt x="5162397" y="968731"/>
                </a:cubicBezTo>
                <a:cubicBezTo>
                  <a:pt x="5162397" y="991501"/>
                  <a:pt x="5180980" y="1010032"/>
                  <a:pt x="5203813" y="1010032"/>
                </a:cubicBezTo>
                <a:lnTo>
                  <a:pt x="5245229" y="1010032"/>
                </a:lnTo>
                <a:lnTo>
                  <a:pt x="5245229" y="968731"/>
                </a:lnTo>
                <a:cubicBezTo>
                  <a:pt x="5245229" y="945961"/>
                  <a:pt x="5226646" y="927429"/>
                  <a:pt x="5203813" y="927429"/>
                </a:cubicBezTo>
                <a:close/>
                <a:moveTo>
                  <a:pt x="4979338" y="927429"/>
                </a:moveTo>
                <a:cubicBezTo>
                  <a:pt x="4956505" y="927429"/>
                  <a:pt x="4937922" y="945961"/>
                  <a:pt x="4937922" y="968731"/>
                </a:cubicBezTo>
                <a:cubicBezTo>
                  <a:pt x="4937922" y="991501"/>
                  <a:pt x="4956505" y="1010032"/>
                  <a:pt x="4979338" y="1010032"/>
                </a:cubicBezTo>
                <a:cubicBezTo>
                  <a:pt x="4988597" y="1010032"/>
                  <a:pt x="4997394" y="1007042"/>
                  <a:pt x="5004708" y="1001391"/>
                </a:cubicBezTo>
                <a:cubicBezTo>
                  <a:pt x="5006751" y="999814"/>
                  <a:pt x="5007114" y="996889"/>
                  <a:pt x="5005532" y="994852"/>
                </a:cubicBezTo>
                <a:cubicBezTo>
                  <a:pt x="5003951" y="992815"/>
                  <a:pt x="5001018" y="992486"/>
                  <a:pt x="4998975" y="994031"/>
                </a:cubicBezTo>
                <a:cubicBezTo>
                  <a:pt x="4993308" y="998401"/>
                  <a:pt x="4986521" y="1000733"/>
                  <a:pt x="4979338" y="1000733"/>
                </a:cubicBezTo>
                <a:cubicBezTo>
                  <a:pt x="4963260" y="1000733"/>
                  <a:pt x="4949882" y="988840"/>
                  <a:pt x="4947609" y="973396"/>
                </a:cubicBezTo>
                <a:lnTo>
                  <a:pt x="5016075" y="973396"/>
                </a:lnTo>
                <a:cubicBezTo>
                  <a:pt x="5018646" y="973396"/>
                  <a:pt x="5020754" y="971327"/>
                  <a:pt x="5020754" y="968731"/>
                </a:cubicBezTo>
                <a:cubicBezTo>
                  <a:pt x="5020754" y="945961"/>
                  <a:pt x="5002171" y="927429"/>
                  <a:pt x="4979338" y="927429"/>
                </a:cubicBezTo>
                <a:close/>
                <a:moveTo>
                  <a:pt x="4487489" y="927429"/>
                </a:moveTo>
                <a:cubicBezTo>
                  <a:pt x="4464656" y="927429"/>
                  <a:pt x="4446073" y="945961"/>
                  <a:pt x="4446073" y="968731"/>
                </a:cubicBezTo>
                <a:cubicBezTo>
                  <a:pt x="4446073" y="991501"/>
                  <a:pt x="4464656" y="1010032"/>
                  <a:pt x="4487489" y="1010032"/>
                </a:cubicBezTo>
                <a:cubicBezTo>
                  <a:pt x="4496780" y="1010032"/>
                  <a:pt x="4505544" y="1007042"/>
                  <a:pt x="4512859" y="1001391"/>
                </a:cubicBezTo>
                <a:cubicBezTo>
                  <a:pt x="4514902" y="999814"/>
                  <a:pt x="4515264" y="996889"/>
                  <a:pt x="4513683" y="994852"/>
                </a:cubicBezTo>
                <a:cubicBezTo>
                  <a:pt x="4512101" y="992815"/>
                  <a:pt x="4509169" y="992487"/>
                  <a:pt x="4507126" y="994031"/>
                </a:cubicBezTo>
                <a:cubicBezTo>
                  <a:pt x="4501459" y="998401"/>
                  <a:pt x="4494671" y="1000734"/>
                  <a:pt x="4487489" y="1000734"/>
                </a:cubicBezTo>
                <a:cubicBezTo>
                  <a:pt x="4471377" y="1000734"/>
                  <a:pt x="4458000" y="988840"/>
                  <a:pt x="4455760" y="973396"/>
                </a:cubicBezTo>
                <a:lnTo>
                  <a:pt x="4524226" y="973396"/>
                </a:lnTo>
                <a:cubicBezTo>
                  <a:pt x="4526796" y="973396"/>
                  <a:pt x="4528905" y="971327"/>
                  <a:pt x="4528905" y="968731"/>
                </a:cubicBezTo>
                <a:cubicBezTo>
                  <a:pt x="4528905" y="945961"/>
                  <a:pt x="4510322" y="927429"/>
                  <a:pt x="4487489" y="927429"/>
                </a:cubicBezTo>
                <a:close/>
                <a:moveTo>
                  <a:pt x="4280839" y="927429"/>
                </a:moveTo>
                <a:cubicBezTo>
                  <a:pt x="4258006" y="927429"/>
                  <a:pt x="4239423" y="945961"/>
                  <a:pt x="4239423" y="968731"/>
                </a:cubicBezTo>
                <a:cubicBezTo>
                  <a:pt x="4239423" y="991501"/>
                  <a:pt x="4258006" y="1010032"/>
                  <a:pt x="4280839" y="1010032"/>
                </a:cubicBezTo>
                <a:cubicBezTo>
                  <a:pt x="4290427" y="1010032"/>
                  <a:pt x="4299784" y="1006681"/>
                  <a:pt x="4307198" y="1000570"/>
                </a:cubicBezTo>
                <a:cubicBezTo>
                  <a:pt x="4309175" y="998926"/>
                  <a:pt x="4309471" y="996002"/>
                  <a:pt x="4307824" y="993998"/>
                </a:cubicBezTo>
                <a:cubicBezTo>
                  <a:pt x="4306176" y="992026"/>
                  <a:pt x="4303244" y="991764"/>
                  <a:pt x="4301234" y="993374"/>
                </a:cubicBezTo>
                <a:cubicBezTo>
                  <a:pt x="4295534" y="998105"/>
                  <a:pt x="4288252" y="1000701"/>
                  <a:pt x="4280839" y="1000701"/>
                </a:cubicBezTo>
                <a:cubicBezTo>
                  <a:pt x="4263146" y="1000701"/>
                  <a:pt x="4248748" y="986309"/>
                  <a:pt x="4248748" y="968698"/>
                </a:cubicBezTo>
                <a:cubicBezTo>
                  <a:pt x="4248748" y="951086"/>
                  <a:pt x="4263146" y="936728"/>
                  <a:pt x="4280839" y="936728"/>
                </a:cubicBezTo>
                <a:cubicBezTo>
                  <a:pt x="4288252" y="936728"/>
                  <a:pt x="4295501" y="939324"/>
                  <a:pt x="4301234" y="944055"/>
                </a:cubicBezTo>
                <a:cubicBezTo>
                  <a:pt x="4303244" y="945698"/>
                  <a:pt x="4306176" y="945435"/>
                  <a:pt x="4307824" y="943431"/>
                </a:cubicBezTo>
                <a:cubicBezTo>
                  <a:pt x="4309471" y="941426"/>
                  <a:pt x="4309207" y="938502"/>
                  <a:pt x="4307198" y="936859"/>
                </a:cubicBezTo>
                <a:cubicBezTo>
                  <a:pt x="4299817" y="930780"/>
                  <a:pt x="4290427" y="927429"/>
                  <a:pt x="4280839" y="927429"/>
                </a:cubicBezTo>
                <a:close/>
                <a:moveTo>
                  <a:pt x="3922070" y="927397"/>
                </a:moveTo>
                <a:cubicBezTo>
                  <a:pt x="3899237" y="927397"/>
                  <a:pt x="3880655" y="945928"/>
                  <a:pt x="3880655" y="968699"/>
                </a:cubicBezTo>
                <a:cubicBezTo>
                  <a:pt x="3880655" y="991469"/>
                  <a:pt x="3899237" y="1010000"/>
                  <a:pt x="3922070" y="1010000"/>
                </a:cubicBezTo>
                <a:cubicBezTo>
                  <a:pt x="3934953" y="1010000"/>
                  <a:pt x="3946518" y="1004086"/>
                  <a:pt x="3954129" y="994820"/>
                </a:cubicBezTo>
                <a:lnTo>
                  <a:pt x="3954129" y="1005368"/>
                </a:lnTo>
                <a:cubicBezTo>
                  <a:pt x="3954129" y="1022979"/>
                  <a:pt x="3939730" y="1037337"/>
                  <a:pt x="3922070" y="1037337"/>
                </a:cubicBezTo>
                <a:cubicBezTo>
                  <a:pt x="3909220" y="1037337"/>
                  <a:pt x="3897656" y="1029747"/>
                  <a:pt x="3892582" y="1017985"/>
                </a:cubicBezTo>
                <a:cubicBezTo>
                  <a:pt x="3891560" y="1015619"/>
                  <a:pt x="3888826" y="1014534"/>
                  <a:pt x="3886420" y="1015553"/>
                </a:cubicBezTo>
                <a:cubicBezTo>
                  <a:pt x="3884081" y="1016572"/>
                  <a:pt x="3882961" y="1019299"/>
                  <a:pt x="3883982" y="1021697"/>
                </a:cubicBezTo>
                <a:cubicBezTo>
                  <a:pt x="3890539" y="1036878"/>
                  <a:pt x="3905464" y="1046702"/>
                  <a:pt x="3922070" y="1046702"/>
                </a:cubicBezTo>
                <a:cubicBezTo>
                  <a:pt x="3944903" y="1046702"/>
                  <a:pt x="3963486" y="1028170"/>
                  <a:pt x="3963486" y="1005400"/>
                </a:cubicBezTo>
                <a:lnTo>
                  <a:pt x="3963486" y="968731"/>
                </a:lnTo>
                <a:cubicBezTo>
                  <a:pt x="3963486" y="945961"/>
                  <a:pt x="3944903" y="927430"/>
                  <a:pt x="3922070" y="927430"/>
                </a:cubicBezTo>
                <a:close/>
                <a:moveTo>
                  <a:pt x="4335764" y="927396"/>
                </a:moveTo>
                <a:cubicBezTo>
                  <a:pt x="4333194" y="927396"/>
                  <a:pt x="4331085" y="929466"/>
                  <a:pt x="4331085" y="932062"/>
                </a:cubicBezTo>
                <a:lnTo>
                  <a:pt x="4331085" y="1005367"/>
                </a:lnTo>
                <a:cubicBezTo>
                  <a:pt x="4331085" y="1007930"/>
                  <a:pt x="4333161" y="1010032"/>
                  <a:pt x="4335764" y="1010032"/>
                </a:cubicBezTo>
                <a:cubicBezTo>
                  <a:pt x="4338367" y="1010032"/>
                  <a:pt x="4340442" y="1007930"/>
                  <a:pt x="4340442" y="1005367"/>
                </a:cubicBezTo>
                <a:lnTo>
                  <a:pt x="4340442" y="932062"/>
                </a:lnTo>
                <a:cubicBezTo>
                  <a:pt x="4340442" y="929466"/>
                  <a:pt x="4338334" y="927396"/>
                  <a:pt x="4335764" y="927396"/>
                </a:cubicBezTo>
                <a:close/>
                <a:moveTo>
                  <a:pt x="3986779" y="927396"/>
                </a:moveTo>
                <a:cubicBezTo>
                  <a:pt x="3984209" y="927396"/>
                  <a:pt x="3982100" y="929466"/>
                  <a:pt x="3982100" y="932062"/>
                </a:cubicBezTo>
                <a:lnTo>
                  <a:pt x="3982100" y="1005367"/>
                </a:lnTo>
                <a:cubicBezTo>
                  <a:pt x="3982100" y="1007930"/>
                  <a:pt x="3984209" y="1010032"/>
                  <a:pt x="3986779" y="1010032"/>
                </a:cubicBezTo>
                <a:cubicBezTo>
                  <a:pt x="3989381" y="1010032"/>
                  <a:pt x="3991457" y="1007930"/>
                  <a:pt x="3991457" y="1005367"/>
                </a:cubicBezTo>
                <a:lnTo>
                  <a:pt x="3991457" y="932062"/>
                </a:lnTo>
                <a:cubicBezTo>
                  <a:pt x="3991457" y="929466"/>
                  <a:pt x="3989349" y="927396"/>
                  <a:pt x="3986779" y="927396"/>
                </a:cubicBezTo>
                <a:close/>
                <a:moveTo>
                  <a:pt x="3856733" y="927396"/>
                </a:moveTo>
                <a:cubicBezTo>
                  <a:pt x="3854163" y="927396"/>
                  <a:pt x="3852087" y="929466"/>
                  <a:pt x="3852087" y="932062"/>
                </a:cubicBezTo>
                <a:lnTo>
                  <a:pt x="3852087" y="1005367"/>
                </a:lnTo>
                <a:cubicBezTo>
                  <a:pt x="3852087" y="1007930"/>
                  <a:pt x="3854163" y="1010032"/>
                  <a:pt x="3856733" y="1010032"/>
                </a:cubicBezTo>
                <a:cubicBezTo>
                  <a:pt x="3859336" y="1010032"/>
                  <a:pt x="3861411" y="1007930"/>
                  <a:pt x="3861411" y="1005367"/>
                </a:cubicBezTo>
                <a:lnTo>
                  <a:pt x="3861411" y="932062"/>
                </a:lnTo>
                <a:cubicBezTo>
                  <a:pt x="3861411" y="929466"/>
                  <a:pt x="3859303" y="927396"/>
                  <a:pt x="3856733" y="927396"/>
                </a:cubicBezTo>
                <a:close/>
                <a:moveTo>
                  <a:pt x="5139499" y="927396"/>
                </a:moveTo>
                <a:cubicBezTo>
                  <a:pt x="5136929" y="927396"/>
                  <a:pt x="5134820" y="929466"/>
                  <a:pt x="5134820" y="932061"/>
                </a:cubicBezTo>
                <a:lnTo>
                  <a:pt x="5134820" y="1005367"/>
                </a:lnTo>
                <a:cubicBezTo>
                  <a:pt x="5134820" y="1007930"/>
                  <a:pt x="5136929" y="1010032"/>
                  <a:pt x="5139499" y="1010032"/>
                </a:cubicBezTo>
                <a:cubicBezTo>
                  <a:pt x="5142069" y="1010032"/>
                  <a:pt x="5144144" y="1007930"/>
                  <a:pt x="5144144" y="1005367"/>
                </a:cubicBezTo>
                <a:lnTo>
                  <a:pt x="5144144" y="932061"/>
                </a:lnTo>
                <a:cubicBezTo>
                  <a:pt x="5144144" y="929466"/>
                  <a:pt x="5142069" y="927396"/>
                  <a:pt x="5139499" y="927396"/>
                </a:cubicBezTo>
                <a:close/>
                <a:moveTo>
                  <a:pt x="4840660" y="927362"/>
                </a:moveTo>
                <a:cubicBezTo>
                  <a:pt x="4831764" y="927362"/>
                  <a:pt x="4823691" y="931009"/>
                  <a:pt x="4817859" y="936858"/>
                </a:cubicBezTo>
                <a:lnTo>
                  <a:pt x="4817859" y="932127"/>
                </a:lnTo>
                <a:cubicBezTo>
                  <a:pt x="4817859" y="929531"/>
                  <a:pt x="4815784" y="927461"/>
                  <a:pt x="4813181" y="927461"/>
                </a:cubicBezTo>
                <a:lnTo>
                  <a:pt x="4808502" y="927461"/>
                </a:lnTo>
                <a:lnTo>
                  <a:pt x="4808502" y="932127"/>
                </a:lnTo>
                <a:lnTo>
                  <a:pt x="4808502" y="1005366"/>
                </a:lnTo>
                <a:cubicBezTo>
                  <a:pt x="4808502" y="1007929"/>
                  <a:pt x="4810611" y="1010031"/>
                  <a:pt x="4813181" y="1010031"/>
                </a:cubicBezTo>
                <a:cubicBezTo>
                  <a:pt x="4815751" y="1010031"/>
                  <a:pt x="4817859" y="1007929"/>
                  <a:pt x="4817859" y="1005366"/>
                </a:cubicBezTo>
                <a:lnTo>
                  <a:pt x="4817859" y="959464"/>
                </a:lnTo>
                <a:cubicBezTo>
                  <a:pt x="4817859" y="946912"/>
                  <a:pt x="4828073" y="936727"/>
                  <a:pt x="4840660" y="936727"/>
                </a:cubicBezTo>
                <a:cubicBezTo>
                  <a:pt x="4853246" y="936727"/>
                  <a:pt x="4863460" y="946945"/>
                  <a:pt x="4863460" y="959464"/>
                </a:cubicBezTo>
                <a:lnTo>
                  <a:pt x="4863460" y="1005366"/>
                </a:lnTo>
                <a:cubicBezTo>
                  <a:pt x="4863460" y="1007929"/>
                  <a:pt x="4865568" y="1010031"/>
                  <a:pt x="4868138" y="1010031"/>
                </a:cubicBezTo>
                <a:cubicBezTo>
                  <a:pt x="4870708" y="1010031"/>
                  <a:pt x="4872817" y="1007929"/>
                  <a:pt x="4872817" y="1005366"/>
                </a:cubicBezTo>
                <a:lnTo>
                  <a:pt x="4872817" y="959464"/>
                </a:lnTo>
                <a:cubicBezTo>
                  <a:pt x="4872817" y="946912"/>
                  <a:pt x="4883064" y="936727"/>
                  <a:pt x="4895617" y="936727"/>
                </a:cubicBezTo>
                <a:cubicBezTo>
                  <a:pt x="4908170" y="936727"/>
                  <a:pt x="4918417" y="946945"/>
                  <a:pt x="4918417" y="959464"/>
                </a:cubicBezTo>
                <a:lnTo>
                  <a:pt x="4918417" y="1005366"/>
                </a:lnTo>
                <a:cubicBezTo>
                  <a:pt x="4918417" y="1007929"/>
                  <a:pt x="4920526" y="1010031"/>
                  <a:pt x="4923096" y="1010031"/>
                </a:cubicBezTo>
                <a:cubicBezTo>
                  <a:pt x="4925666" y="1010031"/>
                  <a:pt x="4927775" y="1007929"/>
                  <a:pt x="4927775" y="1005366"/>
                </a:cubicBezTo>
                <a:lnTo>
                  <a:pt x="4927775" y="959464"/>
                </a:lnTo>
                <a:cubicBezTo>
                  <a:pt x="4927775" y="950625"/>
                  <a:pt x="4924167" y="942600"/>
                  <a:pt x="4918343" y="936784"/>
                </a:cubicBezTo>
                <a:lnTo>
                  <a:pt x="4895630" y="927367"/>
                </a:lnTo>
                <a:lnTo>
                  <a:pt x="4895650" y="927362"/>
                </a:lnTo>
                <a:lnTo>
                  <a:pt x="4895617" y="927362"/>
                </a:lnTo>
                <a:lnTo>
                  <a:pt x="4895630" y="927367"/>
                </a:lnTo>
                <a:lnTo>
                  <a:pt x="4879662" y="931642"/>
                </a:lnTo>
                <a:cubicBezTo>
                  <a:pt x="4874950" y="934361"/>
                  <a:pt x="4870988" y="938238"/>
                  <a:pt x="4868172" y="942871"/>
                </a:cubicBezTo>
                <a:cubicBezTo>
                  <a:pt x="4862537" y="933605"/>
                  <a:pt x="4852323" y="927362"/>
                  <a:pt x="4840660" y="927362"/>
                </a:cubicBezTo>
                <a:close/>
                <a:moveTo>
                  <a:pt x="4571572" y="927362"/>
                </a:moveTo>
                <a:cubicBezTo>
                  <a:pt x="4562644" y="927362"/>
                  <a:pt x="4554604" y="931009"/>
                  <a:pt x="4548772" y="936858"/>
                </a:cubicBezTo>
                <a:lnTo>
                  <a:pt x="4548772" y="932127"/>
                </a:lnTo>
                <a:cubicBezTo>
                  <a:pt x="4548772" y="929531"/>
                  <a:pt x="4546664" y="927461"/>
                  <a:pt x="4544094" y="927461"/>
                </a:cubicBezTo>
                <a:lnTo>
                  <a:pt x="4539415" y="927461"/>
                </a:lnTo>
                <a:lnTo>
                  <a:pt x="4539415" y="932127"/>
                </a:lnTo>
                <a:lnTo>
                  <a:pt x="4539415" y="1005366"/>
                </a:lnTo>
                <a:cubicBezTo>
                  <a:pt x="4539415" y="1007929"/>
                  <a:pt x="4541524" y="1010032"/>
                  <a:pt x="4544094" y="1010032"/>
                </a:cubicBezTo>
                <a:cubicBezTo>
                  <a:pt x="4546664" y="1010032"/>
                  <a:pt x="4548772" y="1007929"/>
                  <a:pt x="4548772" y="1005366"/>
                </a:cubicBezTo>
                <a:lnTo>
                  <a:pt x="4548772" y="959464"/>
                </a:lnTo>
                <a:cubicBezTo>
                  <a:pt x="4548772" y="946913"/>
                  <a:pt x="4558986" y="936727"/>
                  <a:pt x="4571572" y="936727"/>
                </a:cubicBezTo>
                <a:cubicBezTo>
                  <a:pt x="4584159" y="936727"/>
                  <a:pt x="4594373" y="946945"/>
                  <a:pt x="4594373" y="959464"/>
                </a:cubicBezTo>
                <a:lnTo>
                  <a:pt x="4594373" y="1005366"/>
                </a:lnTo>
                <a:cubicBezTo>
                  <a:pt x="4594373" y="1007929"/>
                  <a:pt x="4596481" y="1010032"/>
                  <a:pt x="4599051" y="1010032"/>
                </a:cubicBezTo>
                <a:cubicBezTo>
                  <a:pt x="4601621" y="1010032"/>
                  <a:pt x="4603730" y="1007929"/>
                  <a:pt x="4603730" y="1005366"/>
                </a:cubicBezTo>
                <a:lnTo>
                  <a:pt x="4603730" y="959464"/>
                </a:lnTo>
                <a:cubicBezTo>
                  <a:pt x="4603730" y="946913"/>
                  <a:pt x="4613944" y="936727"/>
                  <a:pt x="4626530" y="936727"/>
                </a:cubicBezTo>
                <a:cubicBezTo>
                  <a:pt x="4639116" y="936727"/>
                  <a:pt x="4649330" y="946945"/>
                  <a:pt x="4649330" y="959464"/>
                </a:cubicBezTo>
                <a:lnTo>
                  <a:pt x="4649330" y="1005366"/>
                </a:lnTo>
                <a:cubicBezTo>
                  <a:pt x="4649330" y="1007929"/>
                  <a:pt x="4651439" y="1010032"/>
                  <a:pt x="4654042" y="1010032"/>
                </a:cubicBezTo>
                <a:cubicBezTo>
                  <a:pt x="4656645" y="1010032"/>
                  <a:pt x="4658688" y="1007929"/>
                  <a:pt x="4658688" y="1005366"/>
                </a:cubicBezTo>
                <a:lnTo>
                  <a:pt x="4658688" y="959464"/>
                </a:lnTo>
                <a:cubicBezTo>
                  <a:pt x="4658688" y="941786"/>
                  <a:pt x="4644256" y="927362"/>
                  <a:pt x="4626530" y="927362"/>
                </a:cubicBezTo>
                <a:cubicBezTo>
                  <a:pt x="4614899" y="927362"/>
                  <a:pt x="4604718" y="933605"/>
                  <a:pt x="4599051" y="942871"/>
                </a:cubicBezTo>
                <a:cubicBezTo>
                  <a:pt x="4593417" y="933605"/>
                  <a:pt x="4583203" y="927362"/>
                  <a:pt x="4571572" y="927362"/>
                </a:cubicBezTo>
                <a:close/>
                <a:moveTo>
                  <a:pt x="5134820" y="902358"/>
                </a:moveTo>
                <a:lnTo>
                  <a:pt x="5134820" y="907024"/>
                </a:lnTo>
                <a:cubicBezTo>
                  <a:pt x="5134820" y="909587"/>
                  <a:pt x="5136929" y="911690"/>
                  <a:pt x="5139499" y="911690"/>
                </a:cubicBezTo>
                <a:cubicBezTo>
                  <a:pt x="5142069" y="911690"/>
                  <a:pt x="5144144" y="909587"/>
                  <a:pt x="5144144" y="907024"/>
                </a:cubicBezTo>
                <a:cubicBezTo>
                  <a:pt x="5144144" y="904461"/>
                  <a:pt x="5142069" y="902358"/>
                  <a:pt x="5139499" y="902358"/>
                </a:cubicBezTo>
                <a:close/>
                <a:moveTo>
                  <a:pt x="4331085" y="902358"/>
                </a:moveTo>
                <a:lnTo>
                  <a:pt x="4331085" y="907024"/>
                </a:lnTo>
                <a:cubicBezTo>
                  <a:pt x="4331085" y="909587"/>
                  <a:pt x="4333194" y="911690"/>
                  <a:pt x="4335764" y="911690"/>
                </a:cubicBezTo>
                <a:cubicBezTo>
                  <a:pt x="4338334" y="911690"/>
                  <a:pt x="4340442" y="909587"/>
                  <a:pt x="4340442" y="907024"/>
                </a:cubicBezTo>
                <a:cubicBezTo>
                  <a:pt x="4340442" y="904461"/>
                  <a:pt x="4338334" y="902358"/>
                  <a:pt x="4335764" y="902358"/>
                </a:cubicBezTo>
                <a:close/>
                <a:moveTo>
                  <a:pt x="3982099" y="902358"/>
                </a:moveTo>
                <a:lnTo>
                  <a:pt x="3982099" y="907024"/>
                </a:lnTo>
                <a:cubicBezTo>
                  <a:pt x="3982099" y="909587"/>
                  <a:pt x="3984207" y="911690"/>
                  <a:pt x="3986778" y="911690"/>
                </a:cubicBezTo>
                <a:cubicBezTo>
                  <a:pt x="3989347" y="911690"/>
                  <a:pt x="3991456" y="909587"/>
                  <a:pt x="3991456" y="907024"/>
                </a:cubicBezTo>
                <a:cubicBezTo>
                  <a:pt x="3991456" y="904461"/>
                  <a:pt x="3989380" y="902358"/>
                  <a:pt x="3986778" y="902358"/>
                </a:cubicBezTo>
                <a:close/>
                <a:moveTo>
                  <a:pt x="3852086" y="902358"/>
                </a:moveTo>
                <a:lnTo>
                  <a:pt x="3852086" y="907024"/>
                </a:lnTo>
                <a:cubicBezTo>
                  <a:pt x="3852086" y="909587"/>
                  <a:pt x="3854194" y="911690"/>
                  <a:pt x="3856764" y="911690"/>
                </a:cubicBezTo>
                <a:cubicBezTo>
                  <a:pt x="3859334" y="911690"/>
                  <a:pt x="3861410" y="909587"/>
                  <a:pt x="3861410" y="907024"/>
                </a:cubicBezTo>
                <a:cubicBezTo>
                  <a:pt x="3861410" y="904461"/>
                  <a:pt x="3859334" y="902358"/>
                  <a:pt x="3856764" y="902358"/>
                </a:cubicBezTo>
                <a:close/>
                <a:moveTo>
                  <a:pt x="5111723" y="892469"/>
                </a:moveTo>
                <a:cubicBezTo>
                  <a:pt x="5109153" y="892469"/>
                  <a:pt x="5107044" y="894539"/>
                  <a:pt x="5107044" y="897135"/>
                </a:cubicBezTo>
                <a:lnTo>
                  <a:pt x="5107044" y="942610"/>
                </a:lnTo>
                <a:cubicBezTo>
                  <a:pt x="5099433" y="933344"/>
                  <a:pt x="5087869" y="927430"/>
                  <a:pt x="5074953" y="927430"/>
                </a:cubicBezTo>
                <a:cubicBezTo>
                  <a:pt x="5052120" y="927430"/>
                  <a:pt x="5033537" y="945961"/>
                  <a:pt x="5033537" y="968731"/>
                </a:cubicBezTo>
                <a:cubicBezTo>
                  <a:pt x="5033537" y="991501"/>
                  <a:pt x="5052120" y="1010033"/>
                  <a:pt x="5074953" y="1010033"/>
                </a:cubicBezTo>
                <a:lnTo>
                  <a:pt x="5116402" y="1010033"/>
                </a:lnTo>
                <a:lnTo>
                  <a:pt x="5116402" y="897135"/>
                </a:lnTo>
                <a:cubicBezTo>
                  <a:pt x="5116402" y="894539"/>
                  <a:pt x="5114293" y="892469"/>
                  <a:pt x="5111723" y="892469"/>
                </a:cubicBezTo>
                <a:close/>
                <a:moveTo>
                  <a:pt x="3829058" y="892469"/>
                </a:moveTo>
                <a:cubicBezTo>
                  <a:pt x="3826489" y="892469"/>
                  <a:pt x="3824380" y="894539"/>
                  <a:pt x="3824380" y="897135"/>
                </a:cubicBezTo>
                <a:lnTo>
                  <a:pt x="3824380" y="942610"/>
                </a:lnTo>
                <a:cubicBezTo>
                  <a:pt x="3816802" y="933344"/>
                  <a:pt x="3805237" y="927430"/>
                  <a:pt x="3792321" y="927430"/>
                </a:cubicBezTo>
                <a:cubicBezTo>
                  <a:pt x="3769489" y="927430"/>
                  <a:pt x="3750906" y="945961"/>
                  <a:pt x="3750906" y="968731"/>
                </a:cubicBezTo>
                <a:cubicBezTo>
                  <a:pt x="3750906" y="991502"/>
                  <a:pt x="3769489" y="1010033"/>
                  <a:pt x="3792321" y="1010033"/>
                </a:cubicBezTo>
                <a:lnTo>
                  <a:pt x="3833737" y="1010033"/>
                </a:lnTo>
                <a:lnTo>
                  <a:pt x="3833737" y="897135"/>
                </a:lnTo>
                <a:cubicBezTo>
                  <a:pt x="3833737" y="894539"/>
                  <a:pt x="3831629" y="892469"/>
                  <a:pt x="3829058" y="892469"/>
                </a:cubicBezTo>
                <a:close/>
                <a:moveTo>
                  <a:pt x="4165093" y="892469"/>
                </a:moveTo>
                <a:cubicBezTo>
                  <a:pt x="4162523" y="892469"/>
                  <a:pt x="4160415" y="894538"/>
                  <a:pt x="4160415" y="897134"/>
                </a:cubicBezTo>
                <a:lnTo>
                  <a:pt x="4160415" y="998236"/>
                </a:lnTo>
                <a:cubicBezTo>
                  <a:pt x="4160415" y="1004742"/>
                  <a:pt x="4165719" y="1010032"/>
                  <a:pt x="4172243" y="1010032"/>
                </a:cubicBezTo>
                <a:cubicBezTo>
                  <a:pt x="4174846" y="1010032"/>
                  <a:pt x="4176922" y="1007962"/>
                  <a:pt x="4176922" y="1005366"/>
                </a:cubicBezTo>
                <a:cubicBezTo>
                  <a:pt x="4176922" y="1002771"/>
                  <a:pt x="4174846" y="1000701"/>
                  <a:pt x="4172243" y="1000701"/>
                </a:cubicBezTo>
                <a:cubicBezTo>
                  <a:pt x="4170892" y="1000701"/>
                  <a:pt x="4169772" y="999616"/>
                  <a:pt x="4169772" y="998236"/>
                </a:cubicBezTo>
                <a:lnTo>
                  <a:pt x="4169772" y="897134"/>
                </a:lnTo>
                <a:cubicBezTo>
                  <a:pt x="4169772" y="894538"/>
                  <a:pt x="4167663" y="892469"/>
                  <a:pt x="4165093" y="892469"/>
                </a:cubicBezTo>
                <a:close/>
                <a:moveTo>
                  <a:pt x="4027667" y="892436"/>
                </a:moveTo>
                <a:cubicBezTo>
                  <a:pt x="4025097" y="892436"/>
                  <a:pt x="4022989" y="894506"/>
                  <a:pt x="4022989" y="897101"/>
                </a:cubicBezTo>
                <a:lnTo>
                  <a:pt x="4022989" y="927396"/>
                </a:lnTo>
                <a:lnTo>
                  <a:pt x="4015147" y="927396"/>
                </a:lnTo>
                <a:cubicBezTo>
                  <a:pt x="4012577" y="927396"/>
                  <a:pt x="4010469" y="929466"/>
                  <a:pt x="4010469" y="932062"/>
                </a:cubicBezTo>
                <a:cubicBezTo>
                  <a:pt x="4010469" y="934657"/>
                  <a:pt x="4012577" y="936727"/>
                  <a:pt x="4015147" y="936727"/>
                </a:cubicBezTo>
                <a:lnTo>
                  <a:pt x="4022989" y="936727"/>
                </a:lnTo>
                <a:lnTo>
                  <a:pt x="4022989" y="985225"/>
                </a:lnTo>
                <a:cubicBezTo>
                  <a:pt x="4022989" y="998893"/>
                  <a:pt x="4034125" y="1009999"/>
                  <a:pt x="4047831" y="1009999"/>
                </a:cubicBezTo>
                <a:cubicBezTo>
                  <a:pt x="4049709" y="1009999"/>
                  <a:pt x="4051554" y="1009801"/>
                  <a:pt x="4053367" y="1009374"/>
                </a:cubicBezTo>
                <a:lnTo>
                  <a:pt x="4056877" y="1003812"/>
                </a:lnTo>
                <a:lnTo>
                  <a:pt x="4056892" y="1003822"/>
                </a:lnTo>
                <a:lnTo>
                  <a:pt x="4056892" y="1003789"/>
                </a:lnTo>
                <a:lnTo>
                  <a:pt x="4056877" y="1003812"/>
                </a:lnTo>
                <a:lnTo>
                  <a:pt x="4051291" y="1000306"/>
                </a:lnTo>
                <a:cubicBezTo>
                  <a:pt x="4050171" y="1000569"/>
                  <a:pt x="4049018" y="1000701"/>
                  <a:pt x="4047831" y="1000701"/>
                </a:cubicBezTo>
                <a:cubicBezTo>
                  <a:pt x="4039298" y="1000701"/>
                  <a:pt x="4032346" y="993768"/>
                  <a:pt x="4032346" y="985225"/>
                </a:cubicBezTo>
                <a:lnTo>
                  <a:pt x="4032346" y="936727"/>
                </a:lnTo>
                <a:lnTo>
                  <a:pt x="4045525" y="936727"/>
                </a:lnTo>
                <a:cubicBezTo>
                  <a:pt x="4048128" y="936727"/>
                  <a:pt x="4050204" y="934624"/>
                  <a:pt x="4050204" y="932062"/>
                </a:cubicBezTo>
                <a:cubicBezTo>
                  <a:pt x="4050204" y="929499"/>
                  <a:pt x="4048128" y="927396"/>
                  <a:pt x="4045525" y="927396"/>
                </a:cubicBezTo>
                <a:lnTo>
                  <a:pt x="4032346" y="927396"/>
                </a:lnTo>
                <a:lnTo>
                  <a:pt x="4032346" y="897101"/>
                </a:lnTo>
                <a:cubicBezTo>
                  <a:pt x="4032346" y="894506"/>
                  <a:pt x="4030237" y="892436"/>
                  <a:pt x="4027667" y="892436"/>
                </a:cubicBezTo>
                <a:close/>
                <a:moveTo>
                  <a:pt x="4569613" y="674214"/>
                </a:moveTo>
                <a:lnTo>
                  <a:pt x="4569629" y="674297"/>
                </a:lnTo>
                <a:lnTo>
                  <a:pt x="4569613" y="674380"/>
                </a:lnTo>
                <a:lnTo>
                  <a:pt x="4569596" y="674297"/>
                </a:lnTo>
                <a:close/>
                <a:moveTo>
                  <a:pt x="3997127" y="528871"/>
                </a:moveTo>
                <a:lnTo>
                  <a:pt x="3997127" y="674297"/>
                </a:lnTo>
                <a:cubicBezTo>
                  <a:pt x="3997127" y="754633"/>
                  <a:pt x="4061211" y="819757"/>
                  <a:pt x="4140253" y="819757"/>
                </a:cubicBezTo>
                <a:cubicBezTo>
                  <a:pt x="4219292" y="819757"/>
                  <a:pt x="4283376" y="754666"/>
                  <a:pt x="4283376" y="674297"/>
                </a:cubicBezTo>
                <a:cubicBezTo>
                  <a:pt x="4283376" y="754633"/>
                  <a:pt x="4347460" y="819757"/>
                  <a:pt x="4426503" y="819757"/>
                </a:cubicBezTo>
                <a:cubicBezTo>
                  <a:pt x="4485784" y="819757"/>
                  <a:pt x="4536652" y="783143"/>
                  <a:pt x="4558381" y="730931"/>
                </a:cubicBezTo>
                <a:lnTo>
                  <a:pt x="4569613" y="674380"/>
                </a:lnTo>
                <a:lnTo>
                  <a:pt x="4580840" y="730917"/>
                </a:lnTo>
                <a:cubicBezTo>
                  <a:pt x="4602561" y="783125"/>
                  <a:pt x="4653416" y="819757"/>
                  <a:pt x="4712723" y="819757"/>
                </a:cubicBezTo>
                <a:cubicBezTo>
                  <a:pt x="4738817" y="819757"/>
                  <a:pt x="4763265" y="812659"/>
                  <a:pt x="4784286" y="800272"/>
                </a:cubicBezTo>
                <a:cubicBezTo>
                  <a:pt x="4805373" y="812659"/>
                  <a:pt x="4829787" y="819757"/>
                  <a:pt x="4855849" y="819757"/>
                </a:cubicBezTo>
                <a:cubicBezTo>
                  <a:pt x="4934892" y="819757"/>
                  <a:pt x="4998976" y="754666"/>
                  <a:pt x="4998976" y="674297"/>
                </a:cubicBezTo>
                <a:cubicBezTo>
                  <a:pt x="4998976" y="593928"/>
                  <a:pt x="4934925" y="528871"/>
                  <a:pt x="4855882" y="528871"/>
                </a:cubicBezTo>
                <a:cubicBezTo>
                  <a:pt x="4829820" y="528871"/>
                  <a:pt x="4805406" y="535935"/>
                  <a:pt x="4784319" y="548322"/>
                </a:cubicBezTo>
                <a:lnTo>
                  <a:pt x="4784286" y="548322"/>
                </a:lnTo>
                <a:cubicBezTo>
                  <a:pt x="4763265" y="535968"/>
                  <a:pt x="4738817" y="528871"/>
                  <a:pt x="4712723" y="528871"/>
                </a:cubicBezTo>
                <a:cubicBezTo>
                  <a:pt x="4653416" y="528871"/>
                  <a:pt x="4602561" y="565484"/>
                  <a:pt x="4580840" y="617682"/>
                </a:cubicBezTo>
                <a:lnTo>
                  <a:pt x="4569613" y="674214"/>
                </a:lnTo>
                <a:lnTo>
                  <a:pt x="4558377" y="617669"/>
                </a:lnTo>
                <a:cubicBezTo>
                  <a:pt x="4536640" y="565465"/>
                  <a:pt x="4485760" y="528871"/>
                  <a:pt x="4426503" y="528871"/>
                </a:cubicBezTo>
                <a:cubicBezTo>
                  <a:pt x="4347493" y="528871"/>
                  <a:pt x="4283376" y="593961"/>
                  <a:pt x="4283376" y="674297"/>
                </a:cubicBezTo>
                <a:cubicBezTo>
                  <a:pt x="4283376" y="593928"/>
                  <a:pt x="4219325" y="528871"/>
                  <a:pt x="4140253" y="528871"/>
                </a:cubicBezTo>
                <a:close/>
                <a:moveTo>
                  <a:pt x="0" y="0"/>
                </a:moveTo>
                <a:lnTo>
                  <a:pt x="9143997" y="0"/>
                </a:lnTo>
                <a:lnTo>
                  <a:pt x="9143997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90000">
            <a:noAutofit/>
          </a:bodyPr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93">
            <a:extLst>
              <a:ext uri="{FF2B5EF4-FFF2-40B4-BE49-F238E27FC236}">
                <a16:creationId xmlns:a16="http://schemas.microsoft.com/office/drawing/2014/main" id="{04D64F29-35C6-F8B2-3BCD-70E2D1EAFC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20268" y="1542210"/>
            <a:ext cx="4303462" cy="2276725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C14AF614-5A79-C93B-3F38-B8498BAF2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9193" y="4387595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</p:spTree>
    <p:extLst>
      <p:ext uri="{BB962C8B-B14F-4D97-AF65-F5344CB8AC3E}">
        <p14:creationId xmlns:p14="http://schemas.microsoft.com/office/powerpoint/2010/main" val="264012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_Open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</a:t>
            </a:r>
            <a:br>
              <a:rPr lang="en-GB" dirty="0"/>
            </a:br>
            <a:r>
              <a:rPr lang="en-GB" dirty="0"/>
              <a:t>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9751" y="3543372"/>
            <a:ext cx="2073897" cy="27448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AA4B2764-F2A2-92FE-5AEE-3BA04F070D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9751" y="3833944"/>
            <a:ext cx="2073897" cy="274485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A1099A6-14BF-8DB6-3201-94ED7F5418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238" y="3496183"/>
            <a:ext cx="703262" cy="703262"/>
          </a:xfrm>
          <a:prstGeom prst="ellipse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9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EAAAC6-E7DD-03DA-C60C-AA99A6B40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09656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C931859-B9DC-1D19-24A7-C4477EBA8E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1433136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1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F44A0D3-FA4F-B48A-2281-121A4AB42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945037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2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F0FEE4A-59C8-FAE1-09FF-7520E0983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238" y="295196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4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70AC0F8-B023-3EDE-0976-D723D7C95C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9" y="244098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3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52BE25E4-DB29-45B3-6AED-D5F625C43B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238" y="395935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6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FE780CF-DC34-BE51-5FE8-611CAB5A8D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9" y="344837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5</a:t>
            </a:r>
          </a:p>
        </p:txBody>
      </p:sp>
      <p:pic>
        <p:nvPicPr>
          <p:cNvPr id="26" name="Picture 1">
            <a:extLst>
              <a:ext uri="{FF2B5EF4-FFF2-40B4-BE49-F238E27FC236}">
                <a16:creationId xmlns:a16="http://schemas.microsoft.com/office/drawing/2014/main" id="{50EFA9A3-BE94-3D84-63EA-A4981D7AD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4692705-2D70-254C-6C7D-EB9B1C7545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1026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8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9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42" lvl="1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14" lvl="2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85" lvl="3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56" lvl="4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28" lvl="5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98" lvl="6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70" lvl="7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541" lvl="8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FC218F5-CE38-3500-1063-D6BC3EC8AD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781222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8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029B6E-0F54-682A-F6D9-C249B90B6E38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0D8F07C5-94A3-6AD8-4476-64F2B3B609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CBDB4D-3375-AF0C-AB00-C0F7C81C1F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7108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5EBB107-BED4-CCC1-0D94-ECF3F540C70C}"/>
              </a:ext>
            </a:extLst>
          </p:cNvPr>
          <p:cNvGrpSpPr/>
          <p:nvPr userDrawn="1"/>
        </p:nvGrpSpPr>
        <p:grpSpPr>
          <a:xfrm>
            <a:off x="503238" y="1044492"/>
            <a:ext cx="8137525" cy="3479102"/>
            <a:chOff x="281282" y="1488107"/>
            <a:chExt cx="8584159" cy="3479102"/>
          </a:xfrm>
          <a:solidFill>
            <a:schemeClr val="bg1"/>
          </a:solidFill>
        </p:grpSpPr>
        <p:sp>
          <p:nvSpPr>
            <p:cNvPr id="4" name="Rectangle 11">
              <a:extLst>
                <a:ext uri="{FF2B5EF4-FFF2-40B4-BE49-F238E27FC236}">
                  <a16:creationId xmlns:a16="http://schemas.microsoft.com/office/drawing/2014/main" id="{86EC8D96-AEDE-C559-EC63-4F3DE70E8A8C}"/>
                </a:ext>
              </a:extLst>
            </p:cNvPr>
            <p:cNvSpPr/>
            <p:nvPr userDrawn="1"/>
          </p:nvSpPr>
          <p:spPr>
            <a:xfrm>
              <a:off x="281282" y="1488107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3499DCEE-BA7D-4F5B-F5D6-45D12D7F1A67}"/>
                </a:ext>
              </a:extLst>
            </p:cNvPr>
            <p:cNvSpPr/>
            <p:nvPr userDrawn="1"/>
          </p:nvSpPr>
          <p:spPr>
            <a:xfrm>
              <a:off x="2039550" y="1495263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Rectangle 11">
              <a:extLst>
                <a:ext uri="{FF2B5EF4-FFF2-40B4-BE49-F238E27FC236}">
                  <a16:creationId xmlns:a16="http://schemas.microsoft.com/office/drawing/2014/main" id="{28328D19-0B00-9836-0C1F-1B46118E36F7}"/>
                </a:ext>
              </a:extLst>
            </p:cNvPr>
            <p:cNvSpPr/>
            <p:nvPr userDrawn="1"/>
          </p:nvSpPr>
          <p:spPr>
            <a:xfrm>
              <a:off x="3797818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FBBD8797-7AEE-8621-BD09-FA13AD248CEC}"/>
                </a:ext>
              </a:extLst>
            </p:cNvPr>
            <p:cNvSpPr/>
            <p:nvPr userDrawn="1"/>
          </p:nvSpPr>
          <p:spPr>
            <a:xfrm>
              <a:off x="5557115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D7491A5-1E8E-3D9E-149D-F568A90AC07B}"/>
                </a:ext>
              </a:extLst>
            </p:cNvPr>
            <p:cNvSpPr/>
            <p:nvPr userDrawn="1"/>
          </p:nvSpPr>
          <p:spPr>
            <a:xfrm>
              <a:off x="7316412" y="1488107"/>
              <a:ext cx="1549029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13AE3D-081F-51AA-2D4B-CD73DEAED7D0}"/>
              </a:ext>
            </a:extLst>
          </p:cNvPr>
          <p:cNvSpPr txBox="1"/>
          <p:nvPr userDrawn="1"/>
        </p:nvSpPr>
        <p:spPr>
          <a:xfrm>
            <a:off x="503237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B2267D-6345-F589-871C-A6F3AA6FDBBD}"/>
              </a:ext>
            </a:extLst>
          </p:cNvPr>
          <p:cNvSpPr txBox="1"/>
          <p:nvPr userDrawn="1"/>
        </p:nvSpPr>
        <p:spPr>
          <a:xfrm>
            <a:off x="2170021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A259B3-C20A-B987-58EE-1AACB1A9C961}"/>
              </a:ext>
            </a:extLst>
          </p:cNvPr>
          <p:cNvSpPr txBox="1"/>
          <p:nvPr userDrawn="1"/>
        </p:nvSpPr>
        <p:spPr>
          <a:xfrm>
            <a:off x="3836804" y="1184651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A9E81-14D5-9158-3446-4EB07FF2622A}"/>
              </a:ext>
            </a:extLst>
          </p:cNvPr>
          <p:cNvSpPr txBox="1"/>
          <p:nvPr userDrawn="1"/>
        </p:nvSpPr>
        <p:spPr>
          <a:xfrm>
            <a:off x="5503585" y="1184651"/>
            <a:ext cx="1468434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6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C137F8-7C00-A3CE-B343-DE3F560DC084}"/>
              </a:ext>
            </a:extLst>
          </p:cNvPr>
          <p:cNvSpPr txBox="1"/>
          <p:nvPr userDrawn="1"/>
        </p:nvSpPr>
        <p:spPr>
          <a:xfrm>
            <a:off x="7170361" y="1178596"/>
            <a:ext cx="1468433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bg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07315FE7-318F-2B43-B0A4-8104165316B5}"/>
              </a:ext>
            </a:extLst>
          </p:cNvPr>
          <p:cNvSpPr>
            <a:spLocks noChangeAspect="1"/>
          </p:cNvSpPr>
          <p:nvPr userDrawn="1"/>
        </p:nvSpPr>
        <p:spPr>
          <a:xfrm>
            <a:off x="1649992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79F1F134-BA83-5539-FB18-3C8ADB12AF3E}"/>
              </a:ext>
            </a:extLst>
          </p:cNvPr>
          <p:cNvSpPr>
            <a:spLocks noChangeAspect="1"/>
          </p:cNvSpPr>
          <p:nvPr userDrawn="1"/>
        </p:nvSpPr>
        <p:spPr>
          <a:xfrm>
            <a:off x="332227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1C496894-A987-985F-79BA-99D87368D8BE}"/>
              </a:ext>
            </a:extLst>
          </p:cNvPr>
          <p:cNvSpPr>
            <a:spLocks noChangeAspect="1"/>
          </p:cNvSpPr>
          <p:nvPr userDrawn="1"/>
        </p:nvSpPr>
        <p:spPr>
          <a:xfrm>
            <a:off x="499455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5B62A641-59B4-D0CE-5D50-1963C3B5AB3E}"/>
              </a:ext>
            </a:extLst>
          </p:cNvPr>
          <p:cNvSpPr>
            <a:spLocks noChangeAspect="1"/>
          </p:cNvSpPr>
          <p:nvPr userDrawn="1"/>
        </p:nvSpPr>
        <p:spPr>
          <a:xfrm>
            <a:off x="6666835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B0A150ED-94FB-5C04-CE54-423E91D7E7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23090E29-C29F-F9C6-1BFB-C4A5AF986F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1099"/>
            <a:ext cx="8137525" cy="4320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D34C5C-C5DF-9D38-49A0-031DE2C31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D824CA1-00B5-9C0A-6EC1-BA642B23E2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6E67E91-E4D9-DF5D-E6B4-37BEF062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C433FB54-95E9-2672-4BD9-D43F42E58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0CFCCEF-6458-EB34-429E-FEF88C7119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61C89B8-D5E1-5086-6062-FF37CD47EB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299687E-B968-CCBD-FC10-4D394B07D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EDD1914B-22C9-50AC-6786-F0998F1113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7B02294-AFCA-C0B6-0D4B-F6538B2A28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AA6F85D-08F2-1116-9553-2F02CEF55A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5245C7-462F-A0E9-5E6F-29DAF0419F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2504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6E3162-FA94-D9E9-16C1-31E2DC0CF2FF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EC1B97-ED58-4A0A-77E2-36C9669ADF2D}"/>
              </a:ext>
            </a:extLst>
          </p:cNvPr>
          <p:cNvSpPr txBox="1"/>
          <p:nvPr userDrawn="1"/>
        </p:nvSpPr>
        <p:spPr>
          <a:xfrm>
            <a:off x="542013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F50139-966A-9A6D-B824-03115CF60681}"/>
              </a:ext>
            </a:extLst>
          </p:cNvPr>
          <p:cNvSpPr txBox="1"/>
          <p:nvPr userDrawn="1"/>
        </p:nvSpPr>
        <p:spPr>
          <a:xfrm>
            <a:off x="2218414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CDD8AB-A160-2ACF-00B7-3733A6539EA4}"/>
              </a:ext>
            </a:extLst>
          </p:cNvPr>
          <p:cNvSpPr txBox="1"/>
          <p:nvPr userDrawn="1"/>
        </p:nvSpPr>
        <p:spPr>
          <a:xfrm>
            <a:off x="3894815" y="925895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DEB915-A383-2178-A1C2-55D6194B89E6}"/>
              </a:ext>
            </a:extLst>
          </p:cNvPr>
          <p:cNvSpPr txBox="1"/>
          <p:nvPr userDrawn="1"/>
        </p:nvSpPr>
        <p:spPr>
          <a:xfrm>
            <a:off x="5545814" y="919839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5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6A4CFD-FA5E-68E4-DC6E-90A379C5AEA3}"/>
              </a:ext>
            </a:extLst>
          </p:cNvPr>
          <p:cNvSpPr txBox="1"/>
          <p:nvPr userDrawn="1"/>
        </p:nvSpPr>
        <p:spPr>
          <a:xfrm>
            <a:off x="7196813" y="919839"/>
            <a:ext cx="1275637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3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F9B4EE43-786A-3312-7629-567FAC4D7508}"/>
              </a:ext>
            </a:extLst>
          </p:cNvPr>
          <p:cNvSpPr>
            <a:spLocks noChangeAspect="1"/>
          </p:cNvSpPr>
          <p:nvPr userDrawn="1"/>
        </p:nvSpPr>
        <p:spPr>
          <a:xfrm>
            <a:off x="1790038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F1E24820-7596-D6D4-C3E0-C62925864C21}"/>
              </a:ext>
            </a:extLst>
          </p:cNvPr>
          <p:cNvSpPr>
            <a:spLocks noChangeAspect="1"/>
          </p:cNvSpPr>
          <p:nvPr userDrawn="1"/>
        </p:nvSpPr>
        <p:spPr>
          <a:xfrm>
            <a:off x="346232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2197B713-1D57-60EE-7BFE-FF5528592CB6}"/>
              </a:ext>
            </a:extLst>
          </p:cNvPr>
          <p:cNvSpPr>
            <a:spLocks noChangeAspect="1"/>
          </p:cNvSpPr>
          <p:nvPr userDrawn="1"/>
        </p:nvSpPr>
        <p:spPr>
          <a:xfrm>
            <a:off x="513460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DE30FE40-A644-E122-3D04-B145E15DBF61}"/>
              </a:ext>
            </a:extLst>
          </p:cNvPr>
          <p:cNvSpPr>
            <a:spLocks noChangeAspect="1"/>
          </p:cNvSpPr>
          <p:nvPr userDrawn="1"/>
        </p:nvSpPr>
        <p:spPr>
          <a:xfrm>
            <a:off x="6806881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9BF148E7-B3D4-6421-FEE1-158DA25A2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905046-3BB0-1A21-AA28-F22585D5EE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31485E3-1C1B-F913-FB4A-2955169B25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0A19CD-8930-8828-0C38-80969C3EBF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31A1DCC7-669B-B458-B7CE-94F0AB66F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5125AA6-C203-84A1-67F7-1C02943DC8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2517B70A-1960-CA19-93A2-497DE032E0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029B38-AA70-6653-61DD-5A29F0154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1861350D-6057-F2AC-1C26-922B74B4F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233843A-EE5D-42EE-1385-6433A45D1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4272D6-9132-32EF-EF8D-B8CF7EF367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5D10CFB-5A99-9574-9E77-AC383316D0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397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EAFC89-7531-CD3C-BF63-7B0FAF031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878806" y="-711522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5F3107-35B4-2105-536D-C8D2C1D75E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663575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4D47F9C-0260-73DB-B9F7-5A8F07C5EE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878806" y="53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D8BCF28-4F4D-BFF5-6979-C8CAF099D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91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B4EF963-7494-1282-F870-5AC8132BED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884451" y="180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7F52E59-BDF0-D773-A0C4-105A12EED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883" y="318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8E30633-E95D-2325-B15B-EE42B34B7E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663574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D93DCA-FB7B-8013-E2A0-1C047C5D3C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000" y="1916641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BC5978F-2A83-86EE-6CF0-F37955C548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0" y="3175352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F33A45C5-D307-A9C5-73B7-8E0523A65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793F635-927E-12B8-801E-0BDD66BACD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0A2B297-39B5-B238-2D53-3C3788ED12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8942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9CD9539-9C53-66F0-E6E2-B18BFDAB89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2115041" y="-10847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A26B0E-2EC1-D905-84E5-B079088276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15041" y="-39990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0DCE8BD-EC72-9C1B-A91A-610C6339B4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15039" y="165474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330D3B-8D02-9B7A-B5D7-DE7D0397AD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08903" y="2339618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5309A9-8287-3228-3DE7-2AC342765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1177" y="2849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F9164-451C-2ED7-2205-1DC2450D3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08903" y="96986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9CA3C0-34F1-F940-B0AE-13CCE3FC9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523597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A69E16-FC07-BA90-BC87-16EEEA5A1F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917" y="1210769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8DB6D5E-606E-C044-372F-54B9F8E20D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8779" y="326462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33374DD-5D08-96E3-A0F5-2D99775B1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917" y="39584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6206C32-9211-6A2A-12A6-483020A93B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780" y="19042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0FA6DA-E689-4FA2-E0CC-E51BD51669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643" y="257930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CD79A77-DDF2-4258-5F61-40314D305A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0" y="52359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A7DB3E4-99C5-48F6-3132-9E0730DDC76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90256" y="1210770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3359E8-8A77-EA1C-1F40-E0EA9CF42D6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4119" y="191037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81A1898-06EA-BDC9-1B34-4555F1B671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7982" y="2573165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4BABF0F-D4B1-5699-2116-E94D91C29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1845" y="3260499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894ACAB-8064-9809-1FBD-1FC198221B1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1845" y="3960107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1">
            <a:extLst>
              <a:ext uri="{FF2B5EF4-FFF2-40B4-BE49-F238E27FC236}">
                <a16:creationId xmlns:a16="http://schemas.microsoft.com/office/drawing/2014/main" id="{9E35916B-6518-0088-3926-C0068CEF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E309F68-DCD8-740B-9857-D2A4F7823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E6CB2F2-3F85-83D3-7A80-C13D925CB6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7962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tical_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F4FC145A-B567-DFFD-EEA3-F1726721AA4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D410D6D-D633-61F0-35A2-7312C8B00F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E0AD0-7CBA-57C1-9DE1-542FB76D2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08668"/>
            <a:ext cx="2577461" cy="1509713"/>
          </a:xfrm>
          <a:prstGeom prst="flowChartOffpageConnector">
            <a:avLst/>
          </a:prstGeom>
          <a:solidFill>
            <a:schemeClr val="bg2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FE1066-BE27-A411-A82F-BEC63BDB3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30" y="1311275"/>
            <a:ext cx="2577461" cy="1509713"/>
          </a:xfrm>
          <a:prstGeom prst="flowChartOffpageConnector">
            <a:avLst/>
          </a:prstGeom>
          <a:solidFill>
            <a:schemeClr val="accent3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221EE1F-AC9F-78CB-BA8A-C2AE5D85A0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349" y="1308667"/>
            <a:ext cx="2577461" cy="1509713"/>
          </a:xfrm>
          <a:prstGeom prst="flowChartOffpageConnector">
            <a:avLst/>
          </a:prstGeom>
          <a:solidFill>
            <a:schemeClr val="accent1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53BC4A-AFEB-9971-FBAB-F68393D2F2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237" y="3167063"/>
            <a:ext cx="2577462" cy="1349375"/>
          </a:xfrm>
          <a:solidFill>
            <a:schemeClr val="tx2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5F472EB-D9C5-D5A1-C76F-02B81F1564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9396" y="3173200"/>
            <a:ext cx="2577462" cy="1349375"/>
          </a:xfrm>
          <a:solidFill>
            <a:schemeClr val="accent4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17001F0-B21D-645B-32A2-E9A77131A4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5555" y="3173200"/>
            <a:ext cx="2559050" cy="1349375"/>
          </a:xfrm>
          <a:solidFill>
            <a:schemeClr val="accent6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9" name="Picture 1">
            <a:extLst>
              <a:ext uri="{FF2B5EF4-FFF2-40B4-BE49-F238E27FC236}">
                <a16:creationId xmlns:a16="http://schemas.microsoft.com/office/drawing/2014/main" id="{784EC472-D83F-D921-F998-8CDAFB969D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DA04E769-BCF1-617B-DAD5-1E0314967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DA2E11A-3246-6C6E-C979-B9CE5890DC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87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Roundel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C2135A-B1F1-67E4-5F91-FA51F136A8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40ED02A-DAC1-D55F-2466-D3C487B766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067E67-3AFA-C6C5-FDF3-09FC25712D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9970" y="761996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F0361FF-8969-080D-B0BB-8F762FCBA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211" y="541068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D04F95-9ADB-A14C-9B5E-93D47B67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9576" y="547205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733BF64-9DE0-B084-3890-D37BDC32B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7227" y="755860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4D943C3-EFF6-5700-9AFB-F169C0A3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7696" y="3063339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C0C34E-D72A-D864-ED6A-E7BD04D40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1484" y="3357911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ECA972A-E7DD-12CB-5B92-D7B055CE6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302" y="3370185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409FBEB-D2DF-C08C-3CC7-DDC70A3709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26" y="3063340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FB17E-F0DA-408E-2122-595949748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284020"/>
            <a:ext cx="8137525" cy="498360"/>
          </a:xfrm>
        </p:spPr>
        <p:txBody>
          <a:bodyPr/>
          <a:lstStyle>
            <a:lvl1pPr algn="ctr"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1" name="Google Shape;28;p5">
            <a:extLst>
              <a:ext uri="{FF2B5EF4-FFF2-40B4-BE49-F238E27FC236}">
                <a16:creationId xmlns:a16="http://schemas.microsoft.com/office/drawing/2014/main" id="{1609D9A8-6EA3-578D-2FCE-6DDBCF6898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2794824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34B4B08-E3BD-7647-7581-F346150011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1670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7">
            <a:extLst>
              <a:ext uri="{FF2B5EF4-FFF2-40B4-BE49-F238E27FC236}">
                <a16:creationId xmlns:a16="http://schemas.microsoft.com/office/drawing/2014/main" id="{AB316ABD-F77A-4F84-08E7-F79FF5171C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314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A01BF8-6F7B-2C88-243E-6EEFDF4262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2299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80D999A7-B0D5-96BA-E194-A3F49C789D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2299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572241D-F0FD-BBA7-6DFB-FB3046E7FE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4669A24-B6B8-E691-5435-0D28988D1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78782"/>
            <a:ext cx="1115999" cy="1115999"/>
          </a:xfrm>
          <a:prstGeom prst="ellipse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9D367D-1BEB-87A5-B795-7816B21091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18619" y="1452425"/>
            <a:ext cx="1115999" cy="1115999"/>
          </a:xfrm>
          <a:prstGeom prst="ellipse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0E01B397-7104-8D29-06EC-4040D00305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638" y="1378782"/>
            <a:ext cx="1115999" cy="1115999"/>
          </a:xfrm>
          <a:prstGeom prst="ellipse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134FEFD6-051C-EEF8-0A3D-CA7FFDB99C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375" y="3054159"/>
            <a:ext cx="1115999" cy="1115999"/>
          </a:xfrm>
          <a:prstGeom prst="ellipse">
            <a:avLst/>
          </a:pr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0D633944-6A29-F8B5-E5B5-95235DC57E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4756" y="3127802"/>
            <a:ext cx="1115999" cy="1115999"/>
          </a:xfrm>
          <a:prstGeom prst="ellipse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829CF5F-529D-11D3-B7F0-A60AE1A399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2775" y="3054159"/>
            <a:ext cx="1115999" cy="1115999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C928FF1D-6AFA-3BEF-0153-3C0181AF78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9988" y="1307752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4DA6187C-5659-50BB-233B-2D5A122E29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39834" y="1584273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629EDB05-016E-D5AE-23EA-9EA1EB9192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9834" y="2247060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8D136322-E2A6-B047-312A-51F555845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8932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465B28B-8783-C3CA-8DE3-AEAB5D335F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8917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4FB66ECD-300F-3FD8-F1A0-5677C1CC6F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17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37">
            <a:extLst>
              <a:ext uri="{FF2B5EF4-FFF2-40B4-BE49-F238E27FC236}">
                <a16:creationId xmlns:a16="http://schemas.microsoft.com/office/drawing/2014/main" id="{86E8FF9F-5BA0-BE61-EB60-C54698F1724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1700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3124CA27-BD6C-FA12-818C-5CDCE7008F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71685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7" name="Text Placeholder 26">
            <a:extLst>
              <a:ext uri="{FF2B5EF4-FFF2-40B4-BE49-F238E27FC236}">
                <a16:creationId xmlns:a16="http://schemas.microsoft.com/office/drawing/2014/main" id="{4712C18E-7FF9-B42A-8FE9-C753D6BF0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685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2899B8C-AC28-3830-0A04-8012ED8546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3851" y="3007676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10840FDF-87FC-47D5-2062-78FC636AE7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33697" y="3284197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0" name="Text Placeholder 26">
            <a:extLst>
              <a:ext uri="{FF2B5EF4-FFF2-40B4-BE49-F238E27FC236}">
                <a16:creationId xmlns:a16="http://schemas.microsoft.com/office/drawing/2014/main" id="{BCE0E35A-2C9D-DCC6-BA76-4E658B8C46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33697" y="3946984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8146C41D-1D0A-70BA-591C-4FFD3C9FE1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8318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2" name="Text Placeholder 26">
            <a:extLst>
              <a:ext uri="{FF2B5EF4-FFF2-40B4-BE49-F238E27FC236}">
                <a16:creationId xmlns:a16="http://schemas.microsoft.com/office/drawing/2014/main" id="{A2C69BC8-DD1B-199A-507E-6C7B90F266E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8303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23A70B1C-0C1A-1943-FDB4-03DE809D5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8303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40925F3-DC4C-6E8E-56F7-DFF3BB21C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45" name="Google Shape;28;p5">
            <a:extLst>
              <a:ext uri="{FF2B5EF4-FFF2-40B4-BE49-F238E27FC236}">
                <a16:creationId xmlns:a16="http://schemas.microsoft.com/office/drawing/2014/main" id="{599257FB-E4F1-7B60-DBD7-D09ADCB6BD1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30676"/>
            <a:ext cx="8137525" cy="31017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F58E7006-6426-D2AD-4D25-ECE0FD867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DBD14E3-8298-4601-83D7-8626255E2E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294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7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1343F93-88EC-77F3-CC47-C9F5B90A48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A3F8ED8-47BD-086A-FC2A-D2CE9BE9F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F2A69A0-131B-6E5D-6EA7-4491F3379F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11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A22E153B-AA1D-221D-39F1-5F343160282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225DBEC-2A5A-5FA6-4DAF-AD74194F5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5F7D3803-641D-290C-76CC-C3DF20C1E52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0265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454B808D-1BC4-FE09-34FC-AE3031E2F34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03B06A3-A2EB-3873-5F05-C55021601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8BFE81A-216F-8098-5E52-33331B2A74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5493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3A61E65B-6746-9A23-4ECC-8371EAFF38FA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45EF568-37E1-1F56-9F2E-346523A7B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4B064940-0960-C593-15D0-B2760DA670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61799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37D9C36-08DD-B376-D8E6-377A0F107D8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2C55CC4C-5683-13E4-D071-6D36643AC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E1AEC84-4B12-A068-8D42-0D8B0B08CC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9183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1" name="Chart Placeholder 3">
            <a:extLst>
              <a:ext uri="{FF2B5EF4-FFF2-40B4-BE49-F238E27FC236}">
                <a16:creationId xmlns:a16="http://schemas.microsoft.com/office/drawing/2014/main" id="{0AD2F0A7-8DD0-B9F1-9749-D73A79FCE7D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1A73CD-41EC-4939-9EF1-97BA4E6264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2605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D6A6FB-2C1C-B1E2-86C7-33CF411E15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484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E058B450-DA07-0C52-655B-9B694038B8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572000" y="268517"/>
            <a:ext cx="4068763" cy="4263796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1347E2B-8FA2-D5C1-9E1C-787A4E1FAE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103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F1450D3-29B2-33A1-F354-D01C464BCE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045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9ACC77-50ED-AECA-F271-08CD59D05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40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 preserve="1">
  <p:cSld name="Thank you">
    <p:bg>
      <p:bgPr>
        <a:solidFill>
          <a:schemeClr val="bg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42401-F043-2D15-56BE-7CFA6A652C80}"/>
              </a:ext>
            </a:extLst>
          </p:cNvPr>
          <p:cNvSpPr/>
          <p:nvPr userDrawn="1"/>
        </p:nvSpPr>
        <p:spPr>
          <a:xfrm>
            <a:off x="4572000" y="663575"/>
            <a:ext cx="4572000" cy="3852863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2ADC9A3D-3A11-F620-A82D-9E28D32A7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5455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4561441"/>
            <a:ext cx="9144000" cy="1053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183656" y="949221"/>
            <a:ext cx="8783252" cy="386533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17528" y="1825275"/>
            <a:ext cx="5715508" cy="2113227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360"/>
              </a:lnSpc>
              <a:buNone/>
              <a:defRPr sz="1224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7454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395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E630559-49AF-C7F2-19F6-8B25683B6D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CC22015-3083-F171-A57C-C92A2A0A7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3C012F8-D8B6-8E94-6EC0-370BF6D0A3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1" y="4837647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65357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862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1840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87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426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782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514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688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90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624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795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peaker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DFF585E-B96E-E237-B0F4-6FFBE3DD3C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873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67837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9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3136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9614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4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8506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882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119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74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336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eakers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90B75FA-7DF6-8185-94A7-7103EA1B3A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65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0986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308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16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127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984DA8-CAFC-6B3B-34E7-89E033312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24510A37-5D5A-67AC-E350-395CE6333D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BD51EC-984D-3BB3-73BF-97F32E11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6463" y="0"/>
            <a:ext cx="4781686" cy="51434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lnSpc>
                <a:spcPct val="80000"/>
              </a:lnSpc>
              <a:defRPr sz="6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TATS OR NUMBER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1F38CB-46FC-6EDC-D375-E349BE457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331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E75EED-E117-BF4E-DA89-10590BFFF0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22A7DEF-1A02-5C34-64F0-C47F9CB2A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00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2D4971-2E44-C1B5-58E1-A52B51D786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389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One column 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32FFCA-F68B-38DF-32B8-ACD1C5EEEE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482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1_One column text">
    <p:bg>
      <p:bgPr>
        <a:solidFill>
          <a:schemeClr val="tx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8CACBCC-096A-6D3A-3E66-D9F01719EE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E2FBA4B-050C-1C80-7172-D9F0EA38B3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217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D7C342F-889D-5859-A392-2856C45E0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87DE41C-54BD-B4E2-4C22-4F68DE4931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0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9E35F640-892C-B6EE-BA6A-1770ED2321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9144000" cy="5143498"/>
          </a:xfrm>
          <a:custGeom>
            <a:avLst/>
            <a:gdLst>
              <a:gd name="connsiteX0" fmla="*/ 1842919 w 9144000"/>
              <a:gd name="connsiteY0" fmla="*/ 887286 h 5143498"/>
              <a:gd name="connsiteX1" fmla="*/ 1875388 w 9144000"/>
              <a:gd name="connsiteY1" fmla="*/ 919633 h 5143498"/>
              <a:gd name="connsiteX2" fmla="*/ 1875388 w 9144000"/>
              <a:gd name="connsiteY2" fmla="*/ 952013 h 5143498"/>
              <a:gd name="connsiteX3" fmla="*/ 1842919 w 9144000"/>
              <a:gd name="connsiteY3" fmla="*/ 952013 h 5143498"/>
              <a:gd name="connsiteX4" fmla="*/ 1810483 w 9144000"/>
              <a:gd name="connsiteY4" fmla="*/ 919633 h 5143498"/>
              <a:gd name="connsiteX5" fmla="*/ 1842919 w 9144000"/>
              <a:gd name="connsiteY5" fmla="*/ 887286 h 5143498"/>
              <a:gd name="connsiteX6" fmla="*/ 863234 w 9144000"/>
              <a:gd name="connsiteY6" fmla="*/ 887286 h 5143498"/>
              <a:gd name="connsiteX7" fmla="*/ 895670 w 9144000"/>
              <a:gd name="connsiteY7" fmla="*/ 919633 h 5143498"/>
              <a:gd name="connsiteX8" fmla="*/ 895670 w 9144000"/>
              <a:gd name="connsiteY8" fmla="*/ 952013 h 5143498"/>
              <a:gd name="connsiteX9" fmla="*/ 863234 w 9144000"/>
              <a:gd name="connsiteY9" fmla="*/ 952013 h 5143498"/>
              <a:gd name="connsiteX10" fmla="*/ 830798 w 9144000"/>
              <a:gd name="connsiteY10" fmla="*/ 919633 h 5143498"/>
              <a:gd name="connsiteX11" fmla="*/ 863234 w 9144000"/>
              <a:gd name="connsiteY11" fmla="*/ 887286 h 5143498"/>
              <a:gd name="connsiteX12" fmla="*/ 1973264 w 9144000"/>
              <a:gd name="connsiteY12" fmla="*/ 887285 h 5143498"/>
              <a:gd name="connsiteX13" fmla="*/ 2005733 w 9144000"/>
              <a:gd name="connsiteY13" fmla="*/ 919633 h 5143498"/>
              <a:gd name="connsiteX14" fmla="*/ 2005733 w 9144000"/>
              <a:gd name="connsiteY14" fmla="*/ 952013 h 5143498"/>
              <a:gd name="connsiteX15" fmla="*/ 1973264 w 9144000"/>
              <a:gd name="connsiteY15" fmla="*/ 952013 h 5143498"/>
              <a:gd name="connsiteX16" fmla="*/ 1940827 w 9144000"/>
              <a:gd name="connsiteY16" fmla="*/ 919633 h 5143498"/>
              <a:gd name="connsiteX17" fmla="*/ 1973264 w 9144000"/>
              <a:gd name="connsiteY17" fmla="*/ 887285 h 5143498"/>
              <a:gd name="connsiteX18" fmla="*/ 1746144 w 9144000"/>
              <a:gd name="connsiteY18" fmla="*/ 887285 h 5143498"/>
              <a:gd name="connsiteX19" fmla="*/ 1778246 w 9144000"/>
              <a:gd name="connsiteY19" fmla="*/ 914912 h 5143498"/>
              <a:gd name="connsiteX20" fmla="*/ 1714041 w 9144000"/>
              <a:gd name="connsiteY20" fmla="*/ 914912 h 5143498"/>
              <a:gd name="connsiteX21" fmla="*/ 1746144 w 9144000"/>
              <a:gd name="connsiteY21" fmla="*/ 887285 h 5143498"/>
              <a:gd name="connsiteX22" fmla="*/ 1475487 w 9144000"/>
              <a:gd name="connsiteY22" fmla="*/ 887285 h 5143498"/>
              <a:gd name="connsiteX23" fmla="*/ 1507956 w 9144000"/>
              <a:gd name="connsiteY23" fmla="*/ 919633 h 5143498"/>
              <a:gd name="connsiteX24" fmla="*/ 1507956 w 9144000"/>
              <a:gd name="connsiteY24" fmla="*/ 952013 h 5143498"/>
              <a:gd name="connsiteX25" fmla="*/ 1475487 w 9144000"/>
              <a:gd name="connsiteY25" fmla="*/ 952013 h 5143498"/>
              <a:gd name="connsiteX26" fmla="*/ 1443051 w 9144000"/>
              <a:gd name="connsiteY26" fmla="*/ 919633 h 5143498"/>
              <a:gd name="connsiteX27" fmla="*/ 1475487 w 9144000"/>
              <a:gd name="connsiteY27" fmla="*/ 887285 h 5143498"/>
              <a:gd name="connsiteX28" fmla="*/ 1248468 w 9144000"/>
              <a:gd name="connsiteY28" fmla="*/ 887285 h 5143498"/>
              <a:gd name="connsiteX29" fmla="*/ 1280570 w 9144000"/>
              <a:gd name="connsiteY29" fmla="*/ 914912 h 5143498"/>
              <a:gd name="connsiteX30" fmla="*/ 1216365 w 9144000"/>
              <a:gd name="connsiteY30" fmla="*/ 914912 h 5143498"/>
              <a:gd name="connsiteX31" fmla="*/ 1248468 w 9144000"/>
              <a:gd name="connsiteY31" fmla="*/ 887285 h 5143498"/>
              <a:gd name="connsiteX32" fmla="*/ 676419 w 9144000"/>
              <a:gd name="connsiteY32" fmla="*/ 887285 h 5143498"/>
              <a:gd name="connsiteX33" fmla="*/ 708855 w 9144000"/>
              <a:gd name="connsiteY33" fmla="*/ 919632 h 5143498"/>
              <a:gd name="connsiteX34" fmla="*/ 676419 w 9144000"/>
              <a:gd name="connsiteY34" fmla="*/ 952012 h 5143498"/>
              <a:gd name="connsiteX35" fmla="*/ 643982 w 9144000"/>
              <a:gd name="connsiteY35" fmla="*/ 919632 h 5143498"/>
              <a:gd name="connsiteX36" fmla="*/ 676419 w 9144000"/>
              <a:gd name="connsiteY36" fmla="*/ 887285 h 5143498"/>
              <a:gd name="connsiteX37" fmla="*/ 545141 w 9144000"/>
              <a:gd name="connsiteY37" fmla="*/ 887285 h 5143498"/>
              <a:gd name="connsiteX38" fmla="*/ 577577 w 9144000"/>
              <a:gd name="connsiteY38" fmla="*/ 919632 h 5143498"/>
              <a:gd name="connsiteX39" fmla="*/ 577577 w 9144000"/>
              <a:gd name="connsiteY39" fmla="*/ 952012 h 5143498"/>
              <a:gd name="connsiteX40" fmla="*/ 545141 w 9144000"/>
              <a:gd name="connsiteY40" fmla="*/ 952012 h 5143498"/>
              <a:gd name="connsiteX41" fmla="*/ 512704 w 9144000"/>
              <a:gd name="connsiteY41" fmla="*/ 919632 h 5143498"/>
              <a:gd name="connsiteX42" fmla="*/ 545141 w 9144000"/>
              <a:gd name="connsiteY42" fmla="*/ 887285 h 5143498"/>
              <a:gd name="connsiteX43" fmla="*/ 1116823 w 9144000"/>
              <a:gd name="connsiteY43" fmla="*/ 877909 h 5143498"/>
              <a:gd name="connsiteX44" fmla="*/ 1116823 w 9144000"/>
              <a:gd name="connsiteY44" fmla="*/ 956731 h 5143498"/>
              <a:gd name="connsiteX45" fmla="*/ 1121557 w 9144000"/>
              <a:gd name="connsiteY45" fmla="*/ 961452 h 5143498"/>
              <a:gd name="connsiteX46" fmla="*/ 1126290 w 9144000"/>
              <a:gd name="connsiteY46" fmla="*/ 956731 h 5143498"/>
              <a:gd name="connsiteX47" fmla="*/ 1126290 w 9144000"/>
              <a:gd name="connsiteY47" fmla="*/ 926911 h 5143498"/>
              <a:gd name="connsiteX48" fmla="*/ 1126290 w 9144000"/>
              <a:gd name="connsiteY48" fmla="*/ 916207 h 5143498"/>
              <a:gd name="connsiteX49" fmla="*/ 1155260 w 9144000"/>
              <a:gd name="connsiteY49" fmla="*/ 887350 h 5143498"/>
              <a:gd name="connsiteX50" fmla="*/ 1184229 w 9144000"/>
              <a:gd name="connsiteY50" fmla="*/ 916240 h 5143498"/>
              <a:gd name="connsiteX51" fmla="*/ 1184229 w 9144000"/>
              <a:gd name="connsiteY51" fmla="*/ 956731 h 5143498"/>
              <a:gd name="connsiteX52" fmla="*/ 1188963 w 9144000"/>
              <a:gd name="connsiteY52" fmla="*/ 961452 h 5143498"/>
              <a:gd name="connsiteX53" fmla="*/ 1193696 w 9144000"/>
              <a:gd name="connsiteY53" fmla="*/ 956731 h 5143498"/>
              <a:gd name="connsiteX54" fmla="*/ 1193696 w 9144000"/>
              <a:gd name="connsiteY54" fmla="*/ 916240 h 5143498"/>
              <a:gd name="connsiteX55" fmla="*/ 1155293 w 9144000"/>
              <a:gd name="connsiteY55" fmla="*/ 877909 h 5143498"/>
              <a:gd name="connsiteX56" fmla="*/ 1155260 w 9144000"/>
              <a:gd name="connsiteY56" fmla="*/ 877909 h 5143498"/>
              <a:gd name="connsiteX57" fmla="*/ 1126290 w 9144000"/>
              <a:gd name="connsiteY57" fmla="*/ 891074 h 5143498"/>
              <a:gd name="connsiteX58" fmla="*/ 1126290 w 9144000"/>
              <a:gd name="connsiteY58" fmla="*/ 882630 h 5143498"/>
              <a:gd name="connsiteX59" fmla="*/ 1121557 w 9144000"/>
              <a:gd name="connsiteY59" fmla="*/ 877909 h 5143498"/>
              <a:gd name="connsiteX60" fmla="*/ 863268 w 9144000"/>
              <a:gd name="connsiteY60" fmla="*/ 877878 h 5143498"/>
              <a:gd name="connsiteX61" fmla="*/ 821364 w 9144000"/>
              <a:gd name="connsiteY61" fmla="*/ 919666 h 5143498"/>
              <a:gd name="connsiteX62" fmla="*/ 863268 w 9144000"/>
              <a:gd name="connsiteY62" fmla="*/ 961454 h 5143498"/>
              <a:gd name="connsiteX63" fmla="*/ 905171 w 9144000"/>
              <a:gd name="connsiteY63" fmla="*/ 961454 h 5143498"/>
              <a:gd name="connsiteX64" fmla="*/ 905171 w 9144000"/>
              <a:gd name="connsiteY64" fmla="*/ 919666 h 5143498"/>
              <a:gd name="connsiteX65" fmla="*/ 863268 w 9144000"/>
              <a:gd name="connsiteY65" fmla="*/ 877878 h 5143498"/>
              <a:gd name="connsiteX66" fmla="*/ 1973264 w 9144000"/>
              <a:gd name="connsiteY66" fmla="*/ 877877 h 5143498"/>
              <a:gd name="connsiteX67" fmla="*/ 1931360 w 9144000"/>
              <a:gd name="connsiteY67" fmla="*/ 919666 h 5143498"/>
              <a:gd name="connsiteX68" fmla="*/ 1973264 w 9144000"/>
              <a:gd name="connsiteY68" fmla="*/ 961454 h 5143498"/>
              <a:gd name="connsiteX69" fmla="*/ 2015167 w 9144000"/>
              <a:gd name="connsiteY69" fmla="*/ 961454 h 5143498"/>
              <a:gd name="connsiteX70" fmla="*/ 2015167 w 9144000"/>
              <a:gd name="connsiteY70" fmla="*/ 919666 h 5143498"/>
              <a:gd name="connsiteX71" fmla="*/ 1973264 w 9144000"/>
              <a:gd name="connsiteY71" fmla="*/ 877877 h 5143498"/>
              <a:gd name="connsiteX72" fmla="*/ 1746144 w 9144000"/>
              <a:gd name="connsiteY72" fmla="*/ 877877 h 5143498"/>
              <a:gd name="connsiteX73" fmla="*/ 1704240 w 9144000"/>
              <a:gd name="connsiteY73" fmla="*/ 919666 h 5143498"/>
              <a:gd name="connsiteX74" fmla="*/ 1746144 w 9144000"/>
              <a:gd name="connsiteY74" fmla="*/ 961453 h 5143498"/>
              <a:gd name="connsiteX75" fmla="*/ 1771813 w 9144000"/>
              <a:gd name="connsiteY75" fmla="*/ 952710 h 5143498"/>
              <a:gd name="connsiteX76" fmla="*/ 1772646 w 9144000"/>
              <a:gd name="connsiteY76" fmla="*/ 946094 h 5143498"/>
              <a:gd name="connsiteX77" fmla="*/ 1766012 w 9144000"/>
              <a:gd name="connsiteY77" fmla="*/ 945263 h 5143498"/>
              <a:gd name="connsiteX78" fmla="*/ 1746144 w 9144000"/>
              <a:gd name="connsiteY78" fmla="*/ 952046 h 5143498"/>
              <a:gd name="connsiteX79" fmla="*/ 1714041 w 9144000"/>
              <a:gd name="connsiteY79" fmla="*/ 924386 h 5143498"/>
              <a:gd name="connsiteX80" fmla="*/ 1783314 w 9144000"/>
              <a:gd name="connsiteY80" fmla="*/ 924386 h 5143498"/>
              <a:gd name="connsiteX81" fmla="*/ 1788047 w 9144000"/>
              <a:gd name="connsiteY81" fmla="*/ 919666 h 5143498"/>
              <a:gd name="connsiteX82" fmla="*/ 1746144 w 9144000"/>
              <a:gd name="connsiteY82" fmla="*/ 877877 h 5143498"/>
              <a:gd name="connsiteX83" fmla="*/ 1475487 w 9144000"/>
              <a:gd name="connsiteY83" fmla="*/ 877877 h 5143498"/>
              <a:gd name="connsiteX84" fmla="*/ 1433583 w 9144000"/>
              <a:gd name="connsiteY84" fmla="*/ 919666 h 5143498"/>
              <a:gd name="connsiteX85" fmla="*/ 1475487 w 9144000"/>
              <a:gd name="connsiteY85" fmla="*/ 961454 h 5143498"/>
              <a:gd name="connsiteX86" fmla="*/ 1517424 w 9144000"/>
              <a:gd name="connsiteY86" fmla="*/ 961454 h 5143498"/>
              <a:gd name="connsiteX87" fmla="*/ 1517424 w 9144000"/>
              <a:gd name="connsiteY87" fmla="*/ 919666 h 5143498"/>
              <a:gd name="connsiteX88" fmla="*/ 1475487 w 9144000"/>
              <a:gd name="connsiteY88" fmla="*/ 877877 h 5143498"/>
              <a:gd name="connsiteX89" fmla="*/ 1248468 w 9144000"/>
              <a:gd name="connsiteY89" fmla="*/ 877877 h 5143498"/>
              <a:gd name="connsiteX90" fmla="*/ 1206564 w 9144000"/>
              <a:gd name="connsiteY90" fmla="*/ 919666 h 5143498"/>
              <a:gd name="connsiteX91" fmla="*/ 1248468 w 9144000"/>
              <a:gd name="connsiteY91" fmla="*/ 961454 h 5143498"/>
              <a:gd name="connsiteX92" fmla="*/ 1274137 w 9144000"/>
              <a:gd name="connsiteY92" fmla="*/ 952710 h 5143498"/>
              <a:gd name="connsiteX93" fmla="*/ 1274970 w 9144000"/>
              <a:gd name="connsiteY93" fmla="*/ 946094 h 5143498"/>
              <a:gd name="connsiteX94" fmla="*/ 1268336 w 9144000"/>
              <a:gd name="connsiteY94" fmla="*/ 945264 h 5143498"/>
              <a:gd name="connsiteX95" fmla="*/ 1248468 w 9144000"/>
              <a:gd name="connsiteY95" fmla="*/ 952046 h 5143498"/>
              <a:gd name="connsiteX96" fmla="*/ 1216365 w 9144000"/>
              <a:gd name="connsiteY96" fmla="*/ 924386 h 5143498"/>
              <a:gd name="connsiteX97" fmla="*/ 1285638 w 9144000"/>
              <a:gd name="connsiteY97" fmla="*/ 924386 h 5143498"/>
              <a:gd name="connsiteX98" fmla="*/ 1290371 w 9144000"/>
              <a:gd name="connsiteY98" fmla="*/ 919666 h 5143498"/>
              <a:gd name="connsiteX99" fmla="*/ 1248468 w 9144000"/>
              <a:gd name="connsiteY99" fmla="*/ 877877 h 5143498"/>
              <a:gd name="connsiteX100" fmla="*/ 1039417 w 9144000"/>
              <a:gd name="connsiteY100" fmla="*/ 877877 h 5143498"/>
              <a:gd name="connsiteX101" fmla="*/ 997513 w 9144000"/>
              <a:gd name="connsiteY101" fmla="*/ 919665 h 5143498"/>
              <a:gd name="connsiteX102" fmla="*/ 1039417 w 9144000"/>
              <a:gd name="connsiteY102" fmla="*/ 961453 h 5143498"/>
              <a:gd name="connsiteX103" fmla="*/ 1066086 w 9144000"/>
              <a:gd name="connsiteY103" fmla="*/ 951879 h 5143498"/>
              <a:gd name="connsiteX104" fmla="*/ 1066719 w 9144000"/>
              <a:gd name="connsiteY104" fmla="*/ 945230 h 5143498"/>
              <a:gd name="connsiteX105" fmla="*/ 1060052 w 9144000"/>
              <a:gd name="connsiteY105" fmla="*/ 944598 h 5143498"/>
              <a:gd name="connsiteX106" fmla="*/ 1039417 w 9144000"/>
              <a:gd name="connsiteY106" fmla="*/ 952012 h 5143498"/>
              <a:gd name="connsiteX107" fmla="*/ 1006947 w 9144000"/>
              <a:gd name="connsiteY107" fmla="*/ 919632 h 5143498"/>
              <a:gd name="connsiteX108" fmla="*/ 1039417 w 9144000"/>
              <a:gd name="connsiteY108" fmla="*/ 887285 h 5143498"/>
              <a:gd name="connsiteX109" fmla="*/ 1060052 w 9144000"/>
              <a:gd name="connsiteY109" fmla="*/ 894699 h 5143498"/>
              <a:gd name="connsiteX110" fmla="*/ 1066719 w 9144000"/>
              <a:gd name="connsiteY110" fmla="*/ 894067 h 5143498"/>
              <a:gd name="connsiteX111" fmla="*/ 1066086 w 9144000"/>
              <a:gd name="connsiteY111" fmla="*/ 887418 h 5143498"/>
              <a:gd name="connsiteX112" fmla="*/ 1039417 w 9144000"/>
              <a:gd name="connsiteY112" fmla="*/ 877877 h 5143498"/>
              <a:gd name="connsiteX113" fmla="*/ 676419 w 9144000"/>
              <a:gd name="connsiteY113" fmla="*/ 877844 h 5143498"/>
              <a:gd name="connsiteX114" fmla="*/ 634515 w 9144000"/>
              <a:gd name="connsiteY114" fmla="*/ 919632 h 5143498"/>
              <a:gd name="connsiteX115" fmla="*/ 676419 w 9144000"/>
              <a:gd name="connsiteY115" fmla="*/ 961420 h 5143498"/>
              <a:gd name="connsiteX116" fmla="*/ 708855 w 9144000"/>
              <a:gd name="connsiteY116" fmla="*/ 946061 h 5143498"/>
              <a:gd name="connsiteX117" fmla="*/ 708855 w 9144000"/>
              <a:gd name="connsiteY117" fmla="*/ 956733 h 5143498"/>
              <a:gd name="connsiteX118" fmla="*/ 676419 w 9144000"/>
              <a:gd name="connsiteY118" fmla="*/ 989080 h 5143498"/>
              <a:gd name="connsiteX119" fmla="*/ 646583 w 9144000"/>
              <a:gd name="connsiteY119" fmla="*/ 969499 h 5143498"/>
              <a:gd name="connsiteX120" fmla="*/ 640349 w 9144000"/>
              <a:gd name="connsiteY120" fmla="*/ 967039 h 5143498"/>
              <a:gd name="connsiteX121" fmla="*/ 637882 w 9144000"/>
              <a:gd name="connsiteY121" fmla="*/ 973255 h 5143498"/>
              <a:gd name="connsiteX122" fmla="*/ 676419 w 9144000"/>
              <a:gd name="connsiteY122" fmla="*/ 998554 h 5143498"/>
              <a:gd name="connsiteX123" fmla="*/ 718322 w 9144000"/>
              <a:gd name="connsiteY123" fmla="*/ 956766 h 5143498"/>
              <a:gd name="connsiteX124" fmla="*/ 718322 w 9144000"/>
              <a:gd name="connsiteY124" fmla="*/ 919665 h 5143498"/>
              <a:gd name="connsiteX125" fmla="*/ 676419 w 9144000"/>
              <a:gd name="connsiteY125" fmla="*/ 877877 h 5143498"/>
              <a:gd name="connsiteX126" fmla="*/ 1094988 w 9144000"/>
              <a:gd name="connsiteY126" fmla="*/ 877843 h 5143498"/>
              <a:gd name="connsiteX127" fmla="*/ 1090254 w 9144000"/>
              <a:gd name="connsiteY127" fmla="*/ 882564 h 5143498"/>
              <a:gd name="connsiteX128" fmla="*/ 1090254 w 9144000"/>
              <a:gd name="connsiteY128" fmla="*/ 956732 h 5143498"/>
              <a:gd name="connsiteX129" fmla="*/ 1094988 w 9144000"/>
              <a:gd name="connsiteY129" fmla="*/ 961453 h 5143498"/>
              <a:gd name="connsiteX130" fmla="*/ 1099721 w 9144000"/>
              <a:gd name="connsiteY130" fmla="*/ 956732 h 5143498"/>
              <a:gd name="connsiteX131" fmla="*/ 1099721 w 9144000"/>
              <a:gd name="connsiteY131" fmla="*/ 882564 h 5143498"/>
              <a:gd name="connsiteX132" fmla="*/ 1094988 w 9144000"/>
              <a:gd name="connsiteY132" fmla="*/ 877843 h 5143498"/>
              <a:gd name="connsiteX133" fmla="*/ 741891 w 9144000"/>
              <a:gd name="connsiteY133" fmla="*/ 877843 h 5143498"/>
              <a:gd name="connsiteX134" fmla="*/ 737157 w 9144000"/>
              <a:gd name="connsiteY134" fmla="*/ 882564 h 5143498"/>
              <a:gd name="connsiteX135" fmla="*/ 737157 w 9144000"/>
              <a:gd name="connsiteY135" fmla="*/ 956732 h 5143498"/>
              <a:gd name="connsiteX136" fmla="*/ 741891 w 9144000"/>
              <a:gd name="connsiteY136" fmla="*/ 961453 h 5143498"/>
              <a:gd name="connsiteX137" fmla="*/ 746624 w 9144000"/>
              <a:gd name="connsiteY137" fmla="*/ 956732 h 5143498"/>
              <a:gd name="connsiteX138" fmla="*/ 746624 w 9144000"/>
              <a:gd name="connsiteY138" fmla="*/ 882564 h 5143498"/>
              <a:gd name="connsiteX139" fmla="*/ 741891 w 9144000"/>
              <a:gd name="connsiteY139" fmla="*/ 877843 h 5143498"/>
              <a:gd name="connsiteX140" fmla="*/ 610312 w 9144000"/>
              <a:gd name="connsiteY140" fmla="*/ 877843 h 5143498"/>
              <a:gd name="connsiteX141" fmla="*/ 605612 w 9144000"/>
              <a:gd name="connsiteY141" fmla="*/ 882564 h 5143498"/>
              <a:gd name="connsiteX142" fmla="*/ 605612 w 9144000"/>
              <a:gd name="connsiteY142" fmla="*/ 956732 h 5143498"/>
              <a:gd name="connsiteX143" fmla="*/ 610312 w 9144000"/>
              <a:gd name="connsiteY143" fmla="*/ 961453 h 5143498"/>
              <a:gd name="connsiteX144" fmla="*/ 615046 w 9144000"/>
              <a:gd name="connsiteY144" fmla="*/ 956732 h 5143498"/>
              <a:gd name="connsiteX145" fmla="*/ 615046 w 9144000"/>
              <a:gd name="connsiteY145" fmla="*/ 882564 h 5143498"/>
              <a:gd name="connsiteX146" fmla="*/ 610312 w 9144000"/>
              <a:gd name="connsiteY146" fmla="*/ 877843 h 5143498"/>
              <a:gd name="connsiteX147" fmla="*/ 1908191 w 9144000"/>
              <a:gd name="connsiteY147" fmla="*/ 877843 h 5143498"/>
              <a:gd name="connsiteX148" fmla="*/ 1903457 w 9144000"/>
              <a:gd name="connsiteY148" fmla="*/ 882564 h 5143498"/>
              <a:gd name="connsiteX149" fmla="*/ 1903457 w 9144000"/>
              <a:gd name="connsiteY149" fmla="*/ 956732 h 5143498"/>
              <a:gd name="connsiteX150" fmla="*/ 1908191 w 9144000"/>
              <a:gd name="connsiteY150" fmla="*/ 961453 h 5143498"/>
              <a:gd name="connsiteX151" fmla="*/ 1912891 w 9144000"/>
              <a:gd name="connsiteY151" fmla="*/ 956732 h 5143498"/>
              <a:gd name="connsiteX152" fmla="*/ 1912891 w 9144000"/>
              <a:gd name="connsiteY152" fmla="*/ 882564 h 5143498"/>
              <a:gd name="connsiteX153" fmla="*/ 1908191 w 9144000"/>
              <a:gd name="connsiteY153" fmla="*/ 877843 h 5143498"/>
              <a:gd name="connsiteX154" fmla="*/ 1333575 w 9144000"/>
              <a:gd name="connsiteY154" fmla="*/ 877809 h 5143498"/>
              <a:gd name="connsiteX155" fmla="*/ 1310506 w 9144000"/>
              <a:gd name="connsiteY155" fmla="*/ 887417 h 5143498"/>
              <a:gd name="connsiteX156" fmla="*/ 1310506 w 9144000"/>
              <a:gd name="connsiteY156" fmla="*/ 882629 h 5143498"/>
              <a:gd name="connsiteX157" fmla="*/ 1305773 w 9144000"/>
              <a:gd name="connsiteY157" fmla="*/ 877909 h 5143498"/>
              <a:gd name="connsiteX158" fmla="*/ 1301039 w 9144000"/>
              <a:gd name="connsiteY158" fmla="*/ 877909 h 5143498"/>
              <a:gd name="connsiteX159" fmla="*/ 1301039 w 9144000"/>
              <a:gd name="connsiteY159" fmla="*/ 882629 h 5143498"/>
              <a:gd name="connsiteX160" fmla="*/ 1301039 w 9144000"/>
              <a:gd name="connsiteY160" fmla="*/ 956731 h 5143498"/>
              <a:gd name="connsiteX161" fmla="*/ 1305773 w 9144000"/>
              <a:gd name="connsiteY161" fmla="*/ 961452 h 5143498"/>
              <a:gd name="connsiteX162" fmla="*/ 1310506 w 9144000"/>
              <a:gd name="connsiteY162" fmla="*/ 956731 h 5143498"/>
              <a:gd name="connsiteX163" fmla="*/ 1310506 w 9144000"/>
              <a:gd name="connsiteY163" fmla="*/ 910289 h 5143498"/>
              <a:gd name="connsiteX164" fmla="*/ 1333575 w 9144000"/>
              <a:gd name="connsiteY164" fmla="*/ 887284 h 5143498"/>
              <a:gd name="connsiteX165" fmla="*/ 1356644 w 9144000"/>
              <a:gd name="connsiteY165" fmla="*/ 910289 h 5143498"/>
              <a:gd name="connsiteX166" fmla="*/ 1356644 w 9144000"/>
              <a:gd name="connsiteY166" fmla="*/ 956731 h 5143498"/>
              <a:gd name="connsiteX167" fmla="*/ 1361378 w 9144000"/>
              <a:gd name="connsiteY167" fmla="*/ 961452 h 5143498"/>
              <a:gd name="connsiteX168" fmla="*/ 1366111 w 9144000"/>
              <a:gd name="connsiteY168" fmla="*/ 956731 h 5143498"/>
              <a:gd name="connsiteX169" fmla="*/ 1366111 w 9144000"/>
              <a:gd name="connsiteY169" fmla="*/ 910289 h 5143498"/>
              <a:gd name="connsiteX170" fmla="*/ 1389180 w 9144000"/>
              <a:gd name="connsiteY170" fmla="*/ 887284 h 5143498"/>
              <a:gd name="connsiteX171" fmla="*/ 1412249 w 9144000"/>
              <a:gd name="connsiteY171" fmla="*/ 910289 h 5143498"/>
              <a:gd name="connsiteX172" fmla="*/ 1412249 w 9144000"/>
              <a:gd name="connsiteY172" fmla="*/ 956731 h 5143498"/>
              <a:gd name="connsiteX173" fmla="*/ 1417016 w 9144000"/>
              <a:gd name="connsiteY173" fmla="*/ 961452 h 5143498"/>
              <a:gd name="connsiteX174" fmla="*/ 1421716 w 9144000"/>
              <a:gd name="connsiteY174" fmla="*/ 956731 h 5143498"/>
              <a:gd name="connsiteX175" fmla="*/ 1421716 w 9144000"/>
              <a:gd name="connsiteY175" fmla="*/ 910289 h 5143498"/>
              <a:gd name="connsiteX176" fmla="*/ 1389180 w 9144000"/>
              <a:gd name="connsiteY176" fmla="*/ 877809 h 5143498"/>
              <a:gd name="connsiteX177" fmla="*/ 1361378 w 9144000"/>
              <a:gd name="connsiteY177" fmla="*/ 893500 h 5143498"/>
              <a:gd name="connsiteX178" fmla="*/ 1333575 w 9144000"/>
              <a:gd name="connsiteY178" fmla="*/ 877809 h 5143498"/>
              <a:gd name="connsiteX179" fmla="*/ 1605798 w 9144000"/>
              <a:gd name="connsiteY179" fmla="*/ 877809 h 5143498"/>
              <a:gd name="connsiteX180" fmla="*/ 1582729 w 9144000"/>
              <a:gd name="connsiteY180" fmla="*/ 887417 h 5143498"/>
              <a:gd name="connsiteX181" fmla="*/ 1582729 w 9144000"/>
              <a:gd name="connsiteY181" fmla="*/ 882629 h 5143498"/>
              <a:gd name="connsiteX182" fmla="*/ 1577996 w 9144000"/>
              <a:gd name="connsiteY182" fmla="*/ 877909 h 5143498"/>
              <a:gd name="connsiteX183" fmla="*/ 1573262 w 9144000"/>
              <a:gd name="connsiteY183" fmla="*/ 877909 h 5143498"/>
              <a:gd name="connsiteX184" fmla="*/ 1573262 w 9144000"/>
              <a:gd name="connsiteY184" fmla="*/ 882629 h 5143498"/>
              <a:gd name="connsiteX185" fmla="*/ 1573262 w 9144000"/>
              <a:gd name="connsiteY185" fmla="*/ 956731 h 5143498"/>
              <a:gd name="connsiteX186" fmla="*/ 1577996 w 9144000"/>
              <a:gd name="connsiteY186" fmla="*/ 961452 h 5143498"/>
              <a:gd name="connsiteX187" fmla="*/ 1582729 w 9144000"/>
              <a:gd name="connsiteY187" fmla="*/ 956731 h 5143498"/>
              <a:gd name="connsiteX188" fmla="*/ 1582729 w 9144000"/>
              <a:gd name="connsiteY188" fmla="*/ 910289 h 5143498"/>
              <a:gd name="connsiteX189" fmla="*/ 1605798 w 9144000"/>
              <a:gd name="connsiteY189" fmla="*/ 887284 h 5143498"/>
              <a:gd name="connsiteX190" fmla="*/ 1628867 w 9144000"/>
              <a:gd name="connsiteY190" fmla="*/ 910289 h 5143498"/>
              <a:gd name="connsiteX191" fmla="*/ 1628867 w 9144000"/>
              <a:gd name="connsiteY191" fmla="*/ 956731 h 5143498"/>
              <a:gd name="connsiteX192" fmla="*/ 1633600 w 9144000"/>
              <a:gd name="connsiteY192" fmla="*/ 961452 h 5143498"/>
              <a:gd name="connsiteX193" fmla="*/ 1638334 w 9144000"/>
              <a:gd name="connsiteY193" fmla="*/ 956731 h 5143498"/>
              <a:gd name="connsiteX194" fmla="*/ 1638334 w 9144000"/>
              <a:gd name="connsiteY194" fmla="*/ 910289 h 5143498"/>
              <a:gd name="connsiteX195" fmla="*/ 1661403 w 9144000"/>
              <a:gd name="connsiteY195" fmla="*/ 887284 h 5143498"/>
              <a:gd name="connsiteX196" fmla="*/ 1684472 w 9144000"/>
              <a:gd name="connsiteY196" fmla="*/ 910289 h 5143498"/>
              <a:gd name="connsiteX197" fmla="*/ 1684472 w 9144000"/>
              <a:gd name="connsiteY197" fmla="*/ 956731 h 5143498"/>
              <a:gd name="connsiteX198" fmla="*/ 1689205 w 9144000"/>
              <a:gd name="connsiteY198" fmla="*/ 961452 h 5143498"/>
              <a:gd name="connsiteX199" fmla="*/ 1693939 w 9144000"/>
              <a:gd name="connsiteY199" fmla="*/ 956731 h 5143498"/>
              <a:gd name="connsiteX200" fmla="*/ 1693939 w 9144000"/>
              <a:gd name="connsiteY200" fmla="*/ 910289 h 5143498"/>
              <a:gd name="connsiteX201" fmla="*/ 1684397 w 9144000"/>
              <a:gd name="connsiteY201" fmla="*/ 887342 h 5143498"/>
              <a:gd name="connsiteX202" fmla="*/ 1661416 w 9144000"/>
              <a:gd name="connsiteY202" fmla="*/ 877814 h 5143498"/>
              <a:gd name="connsiteX203" fmla="*/ 1661436 w 9144000"/>
              <a:gd name="connsiteY203" fmla="*/ 877809 h 5143498"/>
              <a:gd name="connsiteX204" fmla="*/ 1661403 w 9144000"/>
              <a:gd name="connsiteY204" fmla="*/ 877809 h 5143498"/>
              <a:gd name="connsiteX205" fmla="*/ 1661416 w 9144000"/>
              <a:gd name="connsiteY205" fmla="*/ 877814 h 5143498"/>
              <a:gd name="connsiteX206" fmla="*/ 1645260 w 9144000"/>
              <a:gd name="connsiteY206" fmla="*/ 882139 h 5143498"/>
              <a:gd name="connsiteX207" fmla="*/ 1633634 w 9144000"/>
              <a:gd name="connsiteY207" fmla="*/ 893500 h 5143498"/>
              <a:gd name="connsiteX208" fmla="*/ 1605798 w 9144000"/>
              <a:gd name="connsiteY208" fmla="*/ 877809 h 5143498"/>
              <a:gd name="connsiteX209" fmla="*/ 1903457 w 9144000"/>
              <a:gd name="connsiteY209" fmla="*/ 852511 h 5143498"/>
              <a:gd name="connsiteX210" fmla="*/ 1903457 w 9144000"/>
              <a:gd name="connsiteY210" fmla="*/ 857232 h 5143498"/>
              <a:gd name="connsiteX211" fmla="*/ 1908191 w 9144000"/>
              <a:gd name="connsiteY211" fmla="*/ 861952 h 5143498"/>
              <a:gd name="connsiteX212" fmla="*/ 1912891 w 9144000"/>
              <a:gd name="connsiteY212" fmla="*/ 857232 h 5143498"/>
              <a:gd name="connsiteX213" fmla="*/ 1908191 w 9144000"/>
              <a:gd name="connsiteY213" fmla="*/ 852511 h 5143498"/>
              <a:gd name="connsiteX214" fmla="*/ 1090254 w 9144000"/>
              <a:gd name="connsiteY214" fmla="*/ 852511 h 5143498"/>
              <a:gd name="connsiteX215" fmla="*/ 1090254 w 9144000"/>
              <a:gd name="connsiteY215" fmla="*/ 857232 h 5143498"/>
              <a:gd name="connsiteX216" fmla="*/ 1094988 w 9144000"/>
              <a:gd name="connsiteY216" fmla="*/ 861952 h 5143498"/>
              <a:gd name="connsiteX217" fmla="*/ 1099721 w 9144000"/>
              <a:gd name="connsiteY217" fmla="*/ 857232 h 5143498"/>
              <a:gd name="connsiteX218" fmla="*/ 1094988 w 9144000"/>
              <a:gd name="connsiteY218" fmla="*/ 852511 h 5143498"/>
              <a:gd name="connsiteX219" fmla="*/ 737157 w 9144000"/>
              <a:gd name="connsiteY219" fmla="*/ 852511 h 5143498"/>
              <a:gd name="connsiteX220" fmla="*/ 737157 w 9144000"/>
              <a:gd name="connsiteY220" fmla="*/ 857231 h 5143498"/>
              <a:gd name="connsiteX221" fmla="*/ 741891 w 9144000"/>
              <a:gd name="connsiteY221" fmla="*/ 861952 h 5143498"/>
              <a:gd name="connsiteX222" fmla="*/ 746624 w 9144000"/>
              <a:gd name="connsiteY222" fmla="*/ 857231 h 5143498"/>
              <a:gd name="connsiteX223" fmla="*/ 741891 w 9144000"/>
              <a:gd name="connsiteY223" fmla="*/ 852511 h 5143498"/>
              <a:gd name="connsiteX224" fmla="*/ 605579 w 9144000"/>
              <a:gd name="connsiteY224" fmla="*/ 852510 h 5143498"/>
              <a:gd name="connsiteX225" fmla="*/ 605579 w 9144000"/>
              <a:gd name="connsiteY225" fmla="*/ 857231 h 5143498"/>
              <a:gd name="connsiteX226" fmla="*/ 610313 w 9144000"/>
              <a:gd name="connsiteY226" fmla="*/ 861952 h 5143498"/>
              <a:gd name="connsiteX227" fmla="*/ 615013 w 9144000"/>
              <a:gd name="connsiteY227" fmla="*/ 857231 h 5143498"/>
              <a:gd name="connsiteX228" fmla="*/ 610313 w 9144000"/>
              <a:gd name="connsiteY228" fmla="*/ 852510 h 5143498"/>
              <a:gd name="connsiteX229" fmla="*/ 1880089 w 9144000"/>
              <a:gd name="connsiteY229" fmla="*/ 842506 h 5143498"/>
              <a:gd name="connsiteX230" fmla="*/ 1875355 w 9144000"/>
              <a:gd name="connsiteY230" fmla="*/ 847227 h 5143498"/>
              <a:gd name="connsiteX231" fmla="*/ 1875355 w 9144000"/>
              <a:gd name="connsiteY231" fmla="*/ 893237 h 5143498"/>
              <a:gd name="connsiteX232" fmla="*/ 1842886 w 9144000"/>
              <a:gd name="connsiteY232" fmla="*/ 877878 h 5143498"/>
              <a:gd name="connsiteX233" fmla="*/ 1800982 w 9144000"/>
              <a:gd name="connsiteY233" fmla="*/ 919666 h 5143498"/>
              <a:gd name="connsiteX234" fmla="*/ 1842886 w 9144000"/>
              <a:gd name="connsiteY234" fmla="*/ 961454 h 5143498"/>
              <a:gd name="connsiteX235" fmla="*/ 1884823 w 9144000"/>
              <a:gd name="connsiteY235" fmla="*/ 961454 h 5143498"/>
              <a:gd name="connsiteX236" fmla="*/ 1884823 w 9144000"/>
              <a:gd name="connsiteY236" fmla="*/ 847227 h 5143498"/>
              <a:gd name="connsiteX237" fmla="*/ 1880089 w 9144000"/>
              <a:gd name="connsiteY237" fmla="*/ 842506 h 5143498"/>
              <a:gd name="connsiteX238" fmla="*/ 922306 w 9144000"/>
              <a:gd name="connsiteY238" fmla="*/ 842505 h 5143498"/>
              <a:gd name="connsiteX239" fmla="*/ 917572 w 9144000"/>
              <a:gd name="connsiteY239" fmla="*/ 847226 h 5143498"/>
              <a:gd name="connsiteX240" fmla="*/ 917572 w 9144000"/>
              <a:gd name="connsiteY240" fmla="*/ 949519 h 5143498"/>
              <a:gd name="connsiteX241" fmla="*/ 929540 w 9144000"/>
              <a:gd name="connsiteY241" fmla="*/ 961453 h 5143498"/>
              <a:gd name="connsiteX242" fmla="*/ 934273 w 9144000"/>
              <a:gd name="connsiteY242" fmla="*/ 956733 h 5143498"/>
              <a:gd name="connsiteX243" fmla="*/ 929540 w 9144000"/>
              <a:gd name="connsiteY243" fmla="*/ 952012 h 5143498"/>
              <a:gd name="connsiteX244" fmla="*/ 927039 w 9144000"/>
              <a:gd name="connsiteY244" fmla="*/ 949519 h 5143498"/>
              <a:gd name="connsiteX245" fmla="*/ 927039 w 9144000"/>
              <a:gd name="connsiteY245" fmla="*/ 847226 h 5143498"/>
              <a:gd name="connsiteX246" fmla="*/ 922306 w 9144000"/>
              <a:gd name="connsiteY246" fmla="*/ 842505 h 5143498"/>
              <a:gd name="connsiteX247" fmla="*/ 582310 w 9144000"/>
              <a:gd name="connsiteY247" fmla="*/ 842472 h 5143498"/>
              <a:gd name="connsiteX248" fmla="*/ 577577 w 9144000"/>
              <a:gd name="connsiteY248" fmla="*/ 847193 h 5143498"/>
              <a:gd name="connsiteX249" fmla="*/ 577577 w 9144000"/>
              <a:gd name="connsiteY249" fmla="*/ 893203 h 5143498"/>
              <a:gd name="connsiteX250" fmla="*/ 545141 w 9144000"/>
              <a:gd name="connsiteY250" fmla="*/ 877844 h 5143498"/>
              <a:gd name="connsiteX251" fmla="*/ 503237 w 9144000"/>
              <a:gd name="connsiteY251" fmla="*/ 919632 h 5143498"/>
              <a:gd name="connsiteX252" fmla="*/ 545141 w 9144000"/>
              <a:gd name="connsiteY252" fmla="*/ 961454 h 5143498"/>
              <a:gd name="connsiteX253" fmla="*/ 587044 w 9144000"/>
              <a:gd name="connsiteY253" fmla="*/ 961454 h 5143498"/>
              <a:gd name="connsiteX254" fmla="*/ 587044 w 9144000"/>
              <a:gd name="connsiteY254" fmla="*/ 961420 h 5143498"/>
              <a:gd name="connsiteX255" fmla="*/ 587044 w 9144000"/>
              <a:gd name="connsiteY255" fmla="*/ 847193 h 5143498"/>
              <a:gd name="connsiteX256" fmla="*/ 582310 w 9144000"/>
              <a:gd name="connsiteY256" fmla="*/ 842472 h 5143498"/>
              <a:gd name="connsiteX257" fmla="*/ 783228 w 9144000"/>
              <a:gd name="connsiteY257" fmla="*/ 842471 h 5143498"/>
              <a:gd name="connsiteX258" fmla="*/ 778494 w 9144000"/>
              <a:gd name="connsiteY258" fmla="*/ 847192 h 5143498"/>
              <a:gd name="connsiteX259" fmla="*/ 778494 w 9144000"/>
              <a:gd name="connsiteY259" fmla="*/ 877843 h 5143498"/>
              <a:gd name="connsiteX260" fmla="*/ 770560 w 9144000"/>
              <a:gd name="connsiteY260" fmla="*/ 877843 h 5143498"/>
              <a:gd name="connsiteX261" fmla="*/ 765826 w 9144000"/>
              <a:gd name="connsiteY261" fmla="*/ 882564 h 5143498"/>
              <a:gd name="connsiteX262" fmla="*/ 770560 w 9144000"/>
              <a:gd name="connsiteY262" fmla="*/ 887284 h 5143498"/>
              <a:gd name="connsiteX263" fmla="*/ 778494 w 9144000"/>
              <a:gd name="connsiteY263" fmla="*/ 887284 h 5143498"/>
              <a:gd name="connsiteX264" fmla="*/ 778494 w 9144000"/>
              <a:gd name="connsiteY264" fmla="*/ 936353 h 5143498"/>
              <a:gd name="connsiteX265" fmla="*/ 803629 w 9144000"/>
              <a:gd name="connsiteY265" fmla="*/ 961419 h 5143498"/>
              <a:gd name="connsiteX266" fmla="*/ 809230 w 9144000"/>
              <a:gd name="connsiteY266" fmla="*/ 960788 h 5143498"/>
              <a:gd name="connsiteX267" fmla="*/ 812782 w 9144000"/>
              <a:gd name="connsiteY267" fmla="*/ 955159 h 5143498"/>
              <a:gd name="connsiteX268" fmla="*/ 812797 w 9144000"/>
              <a:gd name="connsiteY268" fmla="*/ 955169 h 5143498"/>
              <a:gd name="connsiteX269" fmla="*/ 812797 w 9144000"/>
              <a:gd name="connsiteY269" fmla="*/ 955136 h 5143498"/>
              <a:gd name="connsiteX270" fmla="*/ 812782 w 9144000"/>
              <a:gd name="connsiteY270" fmla="*/ 955159 h 5143498"/>
              <a:gd name="connsiteX271" fmla="*/ 807130 w 9144000"/>
              <a:gd name="connsiteY271" fmla="*/ 951612 h 5143498"/>
              <a:gd name="connsiteX272" fmla="*/ 803629 w 9144000"/>
              <a:gd name="connsiteY272" fmla="*/ 952011 h 5143498"/>
              <a:gd name="connsiteX273" fmla="*/ 787961 w 9144000"/>
              <a:gd name="connsiteY273" fmla="*/ 936353 h 5143498"/>
              <a:gd name="connsiteX274" fmla="*/ 787961 w 9144000"/>
              <a:gd name="connsiteY274" fmla="*/ 887284 h 5143498"/>
              <a:gd name="connsiteX275" fmla="*/ 801296 w 9144000"/>
              <a:gd name="connsiteY275" fmla="*/ 887284 h 5143498"/>
              <a:gd name="connsiteX276" fmla="*/ 806029 w 9144000"/>
              <a:gd name="connsiteY276" fmla="*/ 882564 h 5143498"/>
              <a:gd name="connsiteX277" fmla="*/ 801296 w 9144000"/>
              <a:gd name="connsiteY277" fmla="*/ 877843 h 5143498"/>
              <a:gd name="connsiteX278" fmla="*/ 787961 w 9144000"/>
              <a:gd name="connsiteY278" fmla="*/ 877843 h 5143498"/>
              <a:gd name="connsiteX279" fmla="*/ 787961 w 9144000"/>
              <a:gd name="connsiteY279" fmla="*/ 847192 h 5143498"/>
              <a:gd name="connsiteX280" fmla="*/ 783228 w 9144000"/>
              <a:gd name="connsiteY280" fmla="*/ 842471 h 5143498"/>
              <a:gd name="connsiteX281" fmla="*/ 1082471 w 9144000"/>
              <a:gd name="connsiteY281" fmla="*/ 621681 h 5143498"/>
              <a:gd name="connsiteX282" fmla="*/ 1082487 w 9144000"/>
              <a:gd name="connsiteY282" fmla="*/ 621764 h 5143498"/>
              <a:gd name="connsiteX283" fmla="*/ 1082471 w 9144000"/>
              <a:gd name="connsiteY283" fmla="*/ 621847 h 5143498"/>
              <a:gd name="connsiteX284" fmla="*/ 1082454 w 9144000"/>
              <a:gd name="connsiteY284" fmla="*/ 621764 h 5143498"/>
              <a:gd name="connsiteX285" fmla="*/ 503237 w 9144000"/>
              <a:gd name="connsiteY285" fmla="*/ 474624 h 5143498"/>
              <a:gd name="connsiteX286" fmla="*/ 503237 w 9144000"/>
              <a:gd name="connsiteY286" fmla="*/ 621764 h 5143498"/>
              <a:gd name="connsiteX287" fmla="*/ 648050 w 9144000"/>
              <a:gd name="connsiteY287" fmla="*/ 768936 h 5143498"/>
              <a:gd name="connsiteX288" fmla="*/ 792862 w 9144000"/>
              <a:gd name="connsiteY288" fmla="*/ 621764 h 5143498"/>
              <a:gd name="connsiteX289" fmla="*/ 937675 w 9144000"/>
              <a:gd name="connsiteY289" fmla="*/ 768936 h 5143498"/>
              <a:gd name="connsiteX290" fmla="*/ 1071107 w 9144000"/>
              <a:gd name="connsiteY290" fmla="*/ 679064 h 5143498"/>
              <a:gd name="connsiteX291" fmla="*/ 1082471 w 9144000"/>
              <a:gd name="connsiteY291" fmla="*/ 621847 h 5143498"/>
              <a:gd name="connsiteX292" fmla="*/ 1093830 w 9144000"/>
              <a:gd name="connsiteY292" fmla="*/ 679050 h 5143498"/>
              <a:gd name="connsiteX293" fmla="*/ 1227266 w 9144000"/>
              <a:gd name="connsiteY293" fmla="*/ 768936 h 5143498"/>
              <a:gd name="connsiteX294" fmla="*/ 1299672 w 9144000"/>
              <a:gd name="connsiteY294" fmla="*/ 749222 h 5143498"/>
              <a:gd name="connsiteX295" fmla="*/ 1372079 w 9144000"/>
              <a:gd name="connsiteY295" fmla="*/ 768936 h 5143498"/>
              <a:gd name="connsiteX296" fmla="*/ 1516891 w 9144000"/>
              <a:gd name="connsiteY296" fmla="*/ 621764 h 5143498"/>
              <a:gd name="connsiteX297" fmla="*/ 1372112 w 9144000"/>
              <a:gd name="connsiteY297" fmla="*/ 474624 h 5143498"/>
              <a:gd name="connsiteX298" fmla="*/ 1299706 w 9144000"/>
              <a:gd name="connsiteY298" fmla="*/ 494304 h 5143498"/>
              <a:gd name="connsiteX299" fmla="*/ 1299672 w 9144000"/>
              <a:gd name="connsiteY299" fmla="*/ 494304 h 5143498"/>
              <a:gd name="connsiteX300" fmla="*/ 1227266 w 9144000"/>
              <a:gd name="connsiteY300" fmla="*/ 474624 h 5143498"/>
              <a:gd name="connsiteX301" fmla="*/ 1093830 w 9144000"/>
              <a:gd name="connsiteY301" fmla="*/ 564482 h 5143498"/>
              <a:gd name="connsiteX302" fmla="*/ 1082471 w 9144000"/>
              <a:gd name="connsiteY302" fmla="*/ 621681 h 5143498"/>
              <a:gd name="connsiteX303" fmla="*/ 1071102 w 9144000"/>
              <a:gd name="connsiteY303" fmla="*/ 564468 h 5143498"/>
              <a:gd name="connsiteX304" fmla="*/ 937675 w 9144000"/>
              <a:gd name="connsiteY304" fmla="*/ 474624 h 5143498"/>
              <a:gd name="connsiteX305" fmla="*/ 792862 w 9144000"/>
              <a:gd name="connsiteY305" fmla="*/ 621764 h 5143498"/>
              <a:gd name="connsiteX306" fmla="*/ 648050 w 9144000"/>
              <a:gd name="connsiteY306" fmla="*/ 474624 h 5143498"/>
              <a:gd name="connsiteX307" fmla="*/ 0 w 9144000"/>
              <a:gd name="connsiteY307" fmla="*/ 0 h 5143498"/>
              <a:gd name="connsiteX308" fmla="*/ 9144000 w 9144000"/>
              <a:gd name="connsiteY308" fmla="*/ 0 h 5143498"/>
              <a:gd name="connsiteX309" fmla="*/ 9144000 w 9144000"/>
              <a:gd name="connsiteY309" fmla="*/ 5143498 h 5143498"/>
              <a:gd name="connsiteX310" fmla="*/ 0 w 9144000"/>
              <a:gd name="connsiteY310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</a:cxnLst>
            <a:rect l="l" t="t" r="r" b="b"/>
            <a:pathLst>
              <a:path w="9144000" h="5143498">
                <a:moveTo>
                  <a:pt x="1842919" y="887286"/>
                </a:moveTo>
                <a:cubicBezTo>
                  <a:pt x="1860820" y="887286"/>
                  <a:pt x="1875388" y="901814"/>
                  <a:pt x="1875388" y="919633"/>
                </a:cubicBezTo>
                <a:lnTo>
                  <a:pt x="1875388" y="952013"/>
                </a:lnTo>
                <a:lnTo>
                  <a:pt x="1842919" y="952013"/>
                </a:lnTo>
                <a:cubicBezTo>
                  <a:pt x="1825051" y="952013"/>
                  <a:pt x="1810483" y="937452"/>
                  <a:pt x="1810483" y="919633"/>
                </a:cubicBezTo>
                <a:cubicBezTo>
                  <a:pt x="1810483" y="901814"/>
                  <a:pt x="1825051" y="887286"/>
                  <a:pt x="1842919" y="887286"/>
                </a:cubicBezTo>
                <a:close/>
                <a:moveTo>
                  <a:pt x="863234" y="887286"/>
                </a:moveTo>
                <a:cubicBezTo>
                  <a:pt x="881136" y="887286"/>
                  <a:pt x="895670" y="901814"/>
                  <a:pt x="895670" y="919633"/>
                </a:cubicBezTo>
                <a:lnTo>
                  <a:pt x="895670" y="952013"/>
                </a:lnTo>
                <a:lnTo>
                  <a:pt x="863234" y="952013"/>
                </a:lnTo>
                <a:cubicBezTo>
                  <a:pt x="845333" y="952013"/>
                  <a:pt x="830798" y="937452"/>
                  <a:pt x="830798" y="919633"/>
                </a:cubicBezTo>
                <a:cubicBezTo>
                  <a:pt x="830798" y="901814"/>
                  <a:pt x="845333" y="887286"/>
                  <a:pt x="863234" y="887286"/>
                </a:cubicBezTo>
                <a:close/>
                <a:moveTo>
                  <a:pt x="1973264" y="887285"/>
                </a:moveTo>
                <a:cubicBezTo>
                  <a:pt x="1991165" y="887285"/>
                  <a:pt x="2005733" y="901814"/>
                  <a:pt x="2005733" y="919633"/>
                </a:cubicBezTo>
                <a:lnTo>
                  <a:pt x="2005733" y="952013"/>
                </a:lnTo>
                <a:lnTo>
                  <a:pt x="1973264" y="952013"/>
                </a:lnTo>
                <a:cubicBezTo>
                  <a:pt x="1955395" y="952013"/>
                  <a:pt x="1940827" y="937451"/>
                  <a:pt x="1940827" y="919633"/>
                </a:cubicBezTo>
                <a:cubicBezTo>
                  <a:pt x="1940827" y="901814"/>
                  <a:pt x="1955362" y="887285"/>
                  <a:pt x="1973264" y="887285"/>
                </a:cubicBezTo>
                <a:close/>
                <a:moveTo>
                  <a:pt x="1746144" y="887285"/>
                </a:moveTo>
                <a:cubicBezTo>
                  <a:pt x="1762412" y="887285"/>
                  <a:pt x="1775946" y="899320"/>
                  <a:pt x="1778246" y="914912"/>
                </a:cubicBezTo>
                <a:lnTo>
                  <a:pt x="1714041" y="914912"/>
                </a:lnTo>
                <a:cubicBezTo>
                  <a:pt x="1716341" y="899320"/>
                  <a:pt x="1729876" y="887285"/>
                  <a:pt x="1746144" y="887285"/>
                </a:cubicBezTo>
                <a:close/>
                <a:moveTo>
                  <a:pt x="1475487" y="887285"/>
                </a:moveTo>
                <a:cubicBezTo>
                  <a:pt x="1493388" y="887285"/>
                  <a:pt x="1507956" y="901814"/>
                  <a:pt x="1507956" y="919633"/>
                </a:cubicBezTo>
                <a:lnTo>
                  <a:pt x="1507956" y="952013"/>
                </a:lnTo>
                <a:lnTo>
                  <a:pt x="1475487" y="952013"/>
                </a:lnTo>
                <a:cubicBezTo>
                  <a:pt x="1457618" y="952013"/>
                  <a:pt x="1443051" y="937452"/>
                  <a:pt x="1443051" y="919633"/>
                </a:cubicBezTo>
                <a:cubicBezTo>
                  <a:pt x="1443051" y="901814"/>
                  <a:pt x="1457618" y="887285"/>
                  <a:pt x="1475487" y="887285"/>
                </a:cubicBezTo>
                <a:close/>
                <a:moveTo>
                  <a:pt x="1248468" y="887285"/>
                </a:moveTo>
                <a:cubicBezTo>
                  <a:pt x="1264736" y="887285"/>
                  <a:pt x="1278270" y="899320"/>
                  <a:pt x="1280570" y="914912"/>
                </a:cubicBezTo>
                <a:lnTo>
                  <a:pt x="1216365" y="914912"/>
                </a:lnTo>
                <a:cubicBezTo>
                  <a:pt x="1218632" y="899320"/>
                  <a:pt x="1232200" y="887285"/>
                  <a:pt x="1248468" y="887285"/>
                </a:cubicBezTo>
                <a:close/>
                <a:moveTo>
                  <a:pt x="676419" y="887285"/>
                </a:moveTo>
                <a:cubicBezTo>
                  <a:pt x="694287" y="887285"/>
                  <a:pt x="708855" y="901780"/>
                  <a:pt x="708855" y="919632"/>
                </a:cubicBezTo>
                <a:cubicBezTo>
                  <a:pt x="708855" y="937484"/>
                  <a:pt x="694287" y="952012"/>
                  <a:pt x="676419" y="952012"/>
                </a:cubicBezTo>
                <a:cubicBezTo>
                  <a:pt x="658550" y="952012"/>
                  <a:pt x="643982" y="937484"/>
                  <a:pt x="643982" y="919632"/>
                </a:cubicBezTo>
                <a:cubicBezTo>
                  <a:pt x="643982" y="901780"/>
                  <a:pt x="658550" y="887285"/>
                  <a:pt x="676419" y="887285"/>
                </a:cubicBezTo>
                <a:close/>
                <a:moveTo>
                  <a:pt x="545141" y="887285"/>
                </a:moveTo>
                <a:cubicBezTo>
                  <a:pt x="563009" y="887285"/>
                  <a:pt x="577577" y="901813"/>
                  <a:pt x="577577" y="919632"/>
                </a:cubicBezTo>
                <a:lnTo>
                  <a:pt x="577577" y="952012"/>
                </a:lnTo>
                <a:lnTo>
                  <a:pt x="545141" y="952012"/>
                </a:lnTo>
                <a:cubicBezTo>
                  <a:pt x="527272" y="952012"/>
                  <a:pt x="512704" y="937451"/>
                  <a:pt x="512704" y="919632"/>
                </a:cubicBezTo>
                <a:cubicBezTo>
                  <a:pt x="512704" y="901813"/>
                  <a:pt x="527272" y="887285"/>
                  <a:pt x="545141" y="887285"/>
                </a:cubicBezTo>
                <a:close/>
                <a:moveTo>
                  <a:pt x="1116823" y="877909"/>
                </a:moveTo>
                <a:lnTo>
                  <a:pt x="1116823" y="956731"/>
                </a:lnTo>
                <a:cubicBezTo>
                  <a:pt x="1116823" y="959324"/>
                  <a:pt x="1118957" y="961452"/>
                  <a:pt x="1121557" y="961452"/>
                </a:cubicBezTo>
                <a:cubicBezTo>
                  <a:pt x="1124157" y="961452"/>
                  <a:pt x="1126290" y="959324"/>
                  <a:pt x="1126290" y="956731"/>
                </a:cubicBezTo>
                <a:lnTo>
                  <a:pt x="1126290" y="926911"/>
                </a:lnTo>
                <a:lnTo>
                  <a:pt x="1126290" y="916207"/>
                </a:lnTo>
                <a:cubicBezTo>
                  <a:pt x="1126290" y="900282"/>
                  <a:pt x="1139292" y="887350"/>
                  <a:pt x="1155260" y="887350"/>
                </a:cubicBezTo>
                <a:cubicBezTo>
                  <a:pt x="1171228" y="887350"/>
                  <a:pt x="1184229" y="900316"/>
                  <a:pt x="1184229" y="916240"/>
                </a:cubicBezTo>
                <a:lnTo>
                  <a:pt x="1184229" y="956731"/>
                </a:lnTo>
                <a:cubicBezTo>
                  <a:pt x="1184229" y="959324"/>
                  <a:pt x="1186362" y="961452"/>
                  <a:pt x="1188963" y="961452"/>
                </a:cubicBezTo>
                <a:cubicBezTo>
                  <a:pt x="1191563" y="961452"/>
                  <a:pt x="1193696" y="959324"/>
                  <a:pt x="1193696" y="956731"/>
                </a:cubicBezTo>
                <a:lnTo>
                  <a:pt x="1193696" y="916240"/>
                </a:lnTo>
                <a:cubicBezTo>
                  <a:pt x="1193696" y="895096"/>
                  <a:pt x="1176461" y="877909"/>
                  <a:pt x="1155293" y="877909"/>
                </a:cubicBezTo>
                <a:lnTo>
                  <a:pt x="1155260" y="877909"/>
                </a:lnTo>
                <a:cubicBezTo>
                  <a:pt x="1143692" y="877909"/>
                  <a:pt x="1133358" y="883029"/>
                  <a:pt x="1126290" y="891074"/>
                </a:cubicBezTo>
                <a:lnTo>
                  <a:pt x="1126290" y="882630"/>
                </a:lnTo>
                <a:cubicBezTo>
                  <a:pt x="1126290" y="880003"/>
                  <a:pt x="1124190" y="877909"/>
                  <a:pt x="1121557" y="877909"/>
                </a:cubicBezTo>
                <a:close/>
                <a:moveTo>
                  <a:pt x="863268" y="877878"/>
                </a:moveTo>
                <a:cubicBezTo>
                  <a:pt x="840199" y="877878"/>
                  <a:pt x="821364" y="896628"/>
                  <a:pt x="821364" y="919666"/>
                </a:cubicBezTo>
                <a:cubicBezTo>
                  <a:pt x="821364" y="942705"/>
                  <a:pt x="840166" y="961454"/>
                  <a:pt x="863268" y="961454"/>
                </a:cubicBezTo>
                <a:lnTo>
                  <a:pt x="905171" y="961454"/>
                </a:lnTo>
                <a:lnTo>
                  <a:pt x="905171" y="919666"/>
                </a:lnTo>
                <a:cubicBezTo>
                  <a:pt x="905171" y="896628"/>
                  <a:pt x="886336" y="877878"/>
                  <a:pt x="863268" y="877878"/>
                </a:cubicBezTo>
                <a:close/>
                <a:moveTo>
                  <a:pt x="1973264" y="877877"/>
                </a:moveTo>
                <a:cubicBezTo>
                  <a:pt x="1950162" y="877877"/>
                  <a:pt x="1931360" y="896627"/>
                  <a:pt x="1931360" y="919666"/>
                </a:cubicBezTo>
                <a:cubicBezTo>
                  <a:pt x="1931360" y="942705"/>
                  <a:pt x="1950162" y="961454"/>
                  <a:pt x="1973264" y="961454"/>
                </a:cubicBezTo>
                <a:lnTo>
                  <a:pt x="2015167" y="961454"/>
                </a:lnTo>
                <a:lnTo>
                  <a:pt x="2015167" y="919666"/>
                </a:lnTo>
                <a:cubicBezTo>
                  <a:pt x="2015167" y="896627"/>
                  <a:pt x="1996366" y="877877"/>
                  <a:pt x="1973264" y="877877"/>
                </a:cubicBezTo>
                <a:close/>
                <a:moveTo>
                  <a:pt x="1746144" y="877877"/>
                </a:moveTo>
                <a:cubicBezTo>
                  <a:pt x="1723042" y="877877"/>
                  <a:pt x="1704240" y="896627"/>
                  <a:pt x="1704240" y="919666"/>
                </a:cubicBezTo>
                <a:cubicBezTo>
                  <a:pt x="1704240" y="942704"/>
                  <a:pt x="1723042" y="961453"/>
                  <a:pt x="1746144" y="961453"/>
                </a:cubicBezTo>
                <a:cubicBezTo>
                  <a:pt x="1755511" y="961453"/>
                  <a:pt x="1764412" y="958428"/>
                  <a:pt x="1771813" y="952710"/>
                </a:cubicBezTo>
                <a:cubicBezTo>
                  <a:pt x="1773879" y="951115"/>
                  <a:pt x="1774246" y="948157"/>
                  <a:pt x="1772646" y="946094"/>
                </a:cubicBezTo>
                <a:cubicBezTo>
                  <a:pt x="1771046" y="944034"/>
                  <a:pt x="1768079" y="943701"/>
                  <a:pt x="1766012" y="945263"/>
                </a:cubicBezTo>
                <a:cubicBezTo>
                  <a:pt x="1760278" y="949685"/>
                  <a:pt x="1753411" y="952046"/>
                  <a:pt x="1746144" y="952046"/>
                </a:cubicBezTo>
                <a:cubicBezTo>
                  <a:pt x="1729876" y="952046"/>
                  <a:pt x="1716341" y="940011"/>
                  <a:pt x="1714041" y="924386"/>
                </a:cubicBezTo>
                <a:lnTo>
                  <a:pt x="1783314" y="924386"/>
                </a:lnTo>
                <a:cubicBezTo>
                  <a:pt x="1785914" y="924386"/>
                  <a:pt x="1788047" y="922291"/>
                  <a:pt x="1788047" y="919666"/>
                </a:cubicBezTo>
                <a:cubicBezTo>
                  <a:pt x="1788047" y="896627"/>
                  <a:pt x="1769246" y="877877"/>
                  <a:pt x="1746144" y="877877"/>
                </a:cubicBezTo>
                <a:close/>
                <a:moveTo>
                  <a:pt x="1475487" y="877877"/>
                </a:moveTo>
                <a:cubicBezTo>
                  <a:pt x="1452385" y="877877"/>
                  <a:pt x="1433583" y="896627"/>
                  <a:pt x="1433583" y="919666"/>
                </a:cubicBezTo>
                <a:cubicBezTo>
                  <a:pt x="1433583" y="942705"/>
                  <a:pt x="1452385" y="961454"/>
                  <a:pt x="1475487" y="961454"/>
                </a:cubicBezTo>
                <a:lnTo>
                  <a:pt x="1517424" y="961454"/>
                </a:lnTo>
                <a:lnTo>
                  <a:pt x="1517424" y="919666"/>
                </a:lnTo>
                <a:cubicBezTo>
                  <a:pt x="1517424" y="896627"/>
                  <a:pt x="1498589" y="877877"/>
                  <a:pt x="1475487" y="877877"/>
                </a:cubicBezTo>
                <a:close/>
                <a:moveTo>
                  <a:pt x="1248468" y="877877"/>
                </a:moveTo>
                <a:cubicBezTo>
                  <a:pt x="1225366" y="877877"/>
                  <a:pt x="1206564" y="896627"/>
                  <a:pt x="1206564" y="919666"/>
                </a:cubicBezTo>
                <a:cubicBezTo>
                  <a:pt x="1206564" y="942705"/>
                  <a:pt x="1225366" y="961454"/>
                  <a:pt x="1248468" y="961454"/>
                </a:cubicBezTo>
                <a:cubicBezTo>
                  <a:pt x="1257868" y="961454"/>
                  <a:pt x="1266736" y="958429"/>
                  <a:pt x="1274137" y="952710"/>
                </a:cubicBezTo>
                <a:cubicBezTo>
                  <a:pt x="1276203" y="951115"/>
                  <a:pt x="1276570" y="948157"/>
                  <a:pt x="1274970" y="946094"/>
                </a:cubicBezTo>
                <a:cubicBezTo>
                  <a:pt x="1273370" y="944034"/>
                  <a:pt x="1270403" y="943702"/>
                  <a:pt x="1268336" y="945264"/>
                </a:cubicBezTo>
                <a:cubicBezTo>
                  <a:pt x="1262602" y="949685"/>
                  <a:pt x="1255735" y="952046"/>
                  <a:pt x="1248468" y="952046"/>
                </a:cubicBezTo>
                <a:cubicBezTo>
                  <a:pt x="1232166" y="952046"/>
                  <a:pt x="1218632" y="940011"/>
                  <a:pt x="1216365" y="924386"/>
                </a:cubicBezTo>
                <a:lnTo>
                  <a:pt x="1285638" y="924386"/>
                </a:lnTo>
                <a:cubicBezTo>
                  <a:pt x="1288238" y="924386"/>
                  <a:pt x="1290371" y="922292"/>
                  <a:pt x="1290371" y="919666"/>
                </a:cubicBezTo>
                <a:cubicBezTo>
                  <a:pt x="1290371" y="896627"/>
                  <a:pt x="1271570" y="877877"/>
                  <a:pt x="1248468" y="877877"/>
                </a:cubicBezTo>
                <a:close/>
                <a:moveTo>
                  <a:pt x="1039417" y="877877"/>
                </a:moveTo>
                <a:cubicBezTo>
                  <a:pt x="1016315" y="877877"/>
                  <a:pt x="997513" y="896627"/>
                  <a:pt x="997513" y="919665"/>
                </a:cubicBezTo>
                <a:cubicBezTo>
                  <a:pt x="997513" y="942704"/>
                  <a:pt x="1016315" y="961453"/>
                  <a:pt x="1039417" y="961453"/>
                </a:cubicBezTo>
                <a:cubicBezTo>
                  <a:pt x="1049117" y="961453"/>
                  <a:pt x="1058585" y="958062"/>
                  <a:pt x="1066086" y="951879"/>
                </a:cubicBezTo>
                <a:cubicBezTo>
                  <a:pt x="1068086" y="950217"/>
                  <a:pt x="1068386" y="947258"/>
                  <a:pt x="1066719" y="945230"/>
                </a:cubicBezTo>
                <a:cubicBezTo>
                  <a:pt x="1065052" y="943235"/>
                  <a:pt x="1062085" y="942969"/>
                  <a:pt x="1060052" y="944598"/>
                </a:cubicBezTo>
                <a:cubicBezTo>
                  <a:pt x="1054285" y="949386"/>
                  <a:pt x="1046917" y="952012"/>
                  <a:pt x="1039417" y="952012"/>
                </a:cubicBezTo>
                <a:cubicBezTo>
                  <a:pt x="1021515" y="952012"/>
                  <a:pt x="1006947" y="937451"/>
                  <a:pt x="1006947" y="919632"/>
                </a:cubicBezTo>
                <a:cubicBezTo>
                  <a:pt x="1006947" y="901813"/>
                  <a:pt x="1021515" y="887285"/>
                  <a:pt x="1039417" y="887285"/>
                </a:cubicBezTo>
                <a:cubicBezTo>
                  <a:pt x="1046917" y="887285"/>
                  <a:pt x="1054251" y="889911"/>
                  <a:pt x="1060052" y="894699"/>
                </a:cubicBezTo>
                <a:cubicBezTo>
                  <a:pt x="1062085" y="896361"/>
                  <a:pt x="1065052" y="896095"/>
                  <a:pt x="1066719" y="894067"/>
                </a:cubicBezTo>
                <a:cubicBezTo>
                  <a:pt x="1068386" y="892039"/>
                  <a:pt x="1068119" y="889080"/>
                  <a:pt x="1066086" y="887418"/>
                </a:cubicBezTo>
                <a:cubicBezTo>
                  <a:pt x="1058618" y="881268"/>
                  <a:pt x="1049117" y="877877"/>
                  <a:pt x="1039417" y="877877"/>
                </a:cubicBezTo>
                <a:close/>
                <a:moveTo>
                  <a:pt x="676419" y="877844"/>
                </a:moveTo>
                <a:cubicBezTo>
                  <a:pt x="653317" y="877844"/>
                  <a:pt x="634515" y="896594"/>
                  <a:pt x="634515" y="919632"/>
                </a:cubicBezTo>
                <a:cubicBezTo>
                  <a:pt x="634515" y="942670"/>
                  <a:pt x="653317" y="961420"/>
                  <a:pt x="676419" y="961420"/>
                </a:cubicBezTo>
                <a:cubicBezTo>
                  <a:pt x="689453" y="961420"/>
                  <a:pt x="701154" y="955436"/>
                  <a:pt x="708855" y="946061"/>
                </a:cubicBezTo>
                <a:lnTo>
                  <a:pt x="708855" y="956733"/>
                </a:lnTo>
                <a:cubicBezTo>
                  <a:pt x="708855" y="974552"/>
                  <a:pt x="694287" y="989080"/>
                  <a:pt x="676419" y="989080"/>
                </a:cubicBezTo>
                <a:cubicBezTo>
                  <a:pt x="663417" y="989080"/>
                  <a:pt x="651716" y="981400"/>
                  <a:pt x="646583" y="969499"/>
                </a:cubicBezTo>
                <a:cubicBezTo>
                  <a:pt x="645549" y="967105"/>
                  <a:pt x="642782" y="966008"/>
                  <a:pt x="640349" y="967039"/>
                </a:cubicBezTo>
                <a:cubicBezTo>
                  <a:pt x="637982" y="968069"/>
                  <a:pt x="636849" y="970828"/>
                  <a:pt x="637882" y="973255"/>
                </a:cubicBezTo>
                <a:cubicBezTo>
                  <a:pt x="644516" y="988614"/>
                  <a:pt x="659617" y="998554"/>
                  <a:pt x="676419" y="998554"/>
                </a:cubicBezTo>
                <a:cubicBezTo>
                  <a:pt x="699521" y="998554"/>
                  <a:pt x="718322" y="979804"/>
                  <a:pt x="718322" y="956766"/>
                </a:cubicBezTo>
                <a:lnTo>
                  <a:pt x="718322" y="919665"/>
                </a:lnTo>
                <a:cubicBezTo>
                  <a:pt x="718322" y="896627"/>
                  <a:pt x="699521" y="877877"/>
                  <a:pt x="676419" y="877877"/>
                </a:cubicBezTo>
                <a:close/>
                <a:moveTo>
                  <a:pt x="1094988" y="877843"/>
                </a:moveTo>
                <a:cubicBezTo>
                  <a:pt x="1092388" y="877843"/>
                  <a:pt x="1090254" y="879937"/>
                  <a:pt x="1090254" y="882564"/>
                </a:cubicBezTo>
                <a:lnTo>
                  <a:pt x="1090254" y="956732"/>
                </a:lnTo>
                <a:cubicBezTo>
                  <a:pt x="1090254" y="959325"/>
                  <a:pt x="1092354" y="961453"/>
                  <a:pt x="1094988" y="961453"/>
                </a:cubicBezTo>
                <a:cubicBezTo>
                  <a:pt x="1097621" y="961453"/>
                  <a:pt x="1099721" y="959325"/>
                  <a:pt x="1099721" y="956732"/>
                </a:cubicBezTo>
                <a:lnTo>
                  <a:pt x="1099721" y="882564"/>
                </a:lnTo>
                <a:cubicBezTo>
                  <a:pt x="1099721" y="879937"/>
                  <a:pt x="1097588" y="877843"/>
                  <a:pt x="1094988" y="877843"/>
                </a:cubicBezTo>
                <a:close/>
                <a:moveTo>
                  <a:pt x="741891" y="877843"/>
                </a:moveTo>
                <a:cubicBezTo>
                  <a:pt x="739291" y="877843"/>
                  <a:pt x="737157" y="879937"/>
                  <a:pt x="737157" y="882564"/>
                </a:cubicBezTo>
                <a:lnTo>
                  <a:pt x="737157" y="956732"/>
                </a:lnTo>
                <a:cubicBezTo>
                  <a:pt x="737157" y="959325"/>
                  <a:pt x="739291" y="961453"/>
                  <a:pt x="741891" y="961453"/>
                </a:cubicBezTo>
                <a:cubicBezTo>
                  <a:pt x="744524" y="961453"/>
                  <a:pt x="746624" y="959325"/>
                  <a:pt x="746624" y="956732"/>
                </a:cubicBezTo>
                <a:lnTo>
                  <a:pt x="746624" y="882564"/>
                </a:lnTo>
                <a:cubicBezTo>
                  <a:pt x="746624" y="879937"/>
                  <a:pt x="744491" y="877843"/>
                  <a:pt x="741891" y="877843"/>
                </a:cubicBezTo>
                <a:close/>
                <a:moveTo>
                  <a:pt x="610312" y="877843"/>
                </a:moveTo>
                <a:cubicBezTo>
                  <a:pt x="607712" y="877843"/>
                  <a:pt x="605612" y="879937"/>
                  <a:pt x="605612" y="882564"/>
                </a:cubicBezTo>
                <a:lnTo>
                  <a:pt x="605612" y="956732"/>
                </a:lnTo>
                <a:cubicBezTo>
                  <a:pt x="605612" y="959325"/>
                  <a:pt x="607712" y="961453"/>
                  <a:pt x="610312" y="961453"/>
                </a:cubicBezTo>
                <a:cubicBezTo>
                  <a:pt x="612946" y="961453"/>
                  <a:pt x="615046" y="959325"/>
                  <a:pt x="615046" y="956732"/>
                </a:cubicBezTo>
                <a:lnTo>
                  <a:pt x="615046" y="882564"/>
                </a:lnTo>
                <a:cubicBezTo>
                  <a:pt x="615046" y="879937"/>
                  <a:pt x="612913" y="877843"/>
                  <a:pt x="610312" y="877843"/>
                </a:cubicBezTo>
                <a:close/>
                <a:moveTo>
                  <a:pt x="1908191" y="877843"/>
                </a:moveTo>
                <a:cubicBezTo>
                  <a:pt x="1905591" y="877843"/>
                  <a:pt x="1903457" y="879937"/>
                  <a:pt x="1903457" y="882564"/>
                </a:cubicBezTo>
                <a:lnTo>
                  <a:pt x="1903457" y="956732"/>
                </a:lnTo>
                <a:cubicBezTo>
                  <a:pt x="1903457" y="959325"/>
                  <a:pt x="1905591" y="961453"/>
                  <a:pt x="1908191" y="961453"/>
                </a:cubicBezTo>
                <a:cubicBezTo>
                  <a:pt x="1910791" y="961453"/>
                  <a:pt x="1912891" y="959325"/>
                  <a:pt x="1912891" y="956732"/>
                </a:cubicBezTo>
                <a:lnTo>
                  <a:pt x="1912891" y="882564"/>
                </a:lnTo>
                <a:cubicBezTo>
                  <a:pt x="1912891" y="879937"/>
                  <a:pt x="1910791" y="877843"/>
                  <a:pt x="1908191" y="877843"/>
                </a:cubicBezTo>
                <a:close/>
                <a:moveTo>
                  <a:pt x="1333575" y="877809"/>
                </a:moveTo>
                <a:cubicBezTo>
                  <a:pt x="1324541" y="877809"/>
                  <a:pt x="1316407" y="881499"/>
                  <a:pt x="1310506" y="887417"/>
                </a:cubicBezTo>
                <a:lnTo>
                  <a:pt x="1310506" y="882629"/>
                </a:lnTo>
                <a:cubicBezTo>
                  <a:pt x="1310506" y="880003"/>
                  <a:pt x="1308373" y="877909"/>
                  <a:pt x="1305773" y="877909"/>
                </a:cubicBezTo>
                <a:lnTo>
                  <a:pt x="1301039" y="877909"/>
                </a:lnTo>
                <a:lnTo>
                  <a:pt x="1301039" y="882629"/>
                </a:lnTo>
                <a:lnTo>
                  <a:pt x="1301039" y="956731"/>
                </a:lnTo>
                <a:cubicBezTo>
                  <a:pt x="1301039" y="959324"/>
                  <a:pt x="1303173" y="961452"/>
                  <a:pt x="1305773" y="961452"/>
                </a:cubicBezTo>
                <a:cubicBezTo>
                  <a:pt x="1308373" y="961452"/>
                  <a:pt x="1310506" y="959324"/>
                  <a:pt x="1310506" y="956731"/>
                </a:cubicBezTo>
                <a:lnTo>
                  <a:pt x="1310506" y="910289"/>
                </a:lnTo>
                <a:cubicBezTo>
                  <a:pt x="1310506" y="897589"/>
                  <a:pt x="1320841" y="887284"/>
                  <a:pt x="1333575" y="887284"/>
                </a:cubicBezTo>
                <a:cubicBezTo>
                  <a:pt x="1346310" y="887284"/>
                  <a:pt x="1356644" y="897623"/>
                  <a:pt x="1356644" y="910289"/>
                </a:cubicBezTo>
                <a:lnTo>
                  <a:pt x="1356644" y="956731"/>
                </a:lnTo>
                <a:cubicBezTo>
                  <a:pt x="1356644" y="959324"/>
                  <a:pt x="1358777" y="961452"/>
                  <a:pt x="1361378" y="961452"/>
                </a:cubicBezTo>
                <a:cubicBezTo>
                  <a:pt x="1363978" y="961452"/>
                  <a:pt x="1366111" y="959324"/>
                  <a:pt x="1366111" y="956731"/>
                </a:cubicBezTo>
                <a:lnTo>
                  <a:pt x="1366111" y="910289"/>
                </a:lnTo>
                <a:cubicBezTo>
                  <a:pt x="1366111" y="897589"/>
                  <a:pt x="1376445" y="887284"/>
                  <a:pt x="1389180" y="887284"/>
                </a:cubicBezTo>
                <a:cubicBezTo>
                  <a:pt x="1401914" y="887284"/>
                  <a:pt x="1412249" y="897623"/>
                  <a:pt x="1412249" y="910289"/>
                </a:cubicBezTo>
                <a:lnTo>
                  <a:pt x="1412249" y="956731"/>
                </a:lnTo>
                <a:cubicBezTo>
                  <a:pt x="1412249" y="959324"/>
                  <a:pt x="1414382" y="961452"/>
                  <a:pt x="1417016" y="961452"/>
                </a:cubicBezTo>
                <a:cubicBezTo>
                  <a:pt x="1419649" y="961452"/>
                  <a:pt x="1421716" y="959324"/>
                  <a:pt x="1421716" y="956731"/>
                </a:cubicBezTo>
                <a:lnTo>
                  <a:pt x="1421716" y="910289"/>
                </a:lnTo>
                <a:cubicBezTo>
                  <a:pt x="1421716" y="892403"/>
                  <a:pt x="1407115" y="877809"/>
                  <a:pt x="1389180" y="877809"/>
                </a:cubicBezTo>
                <a:cubicBezTo>
                  <a:pt x="1377412" y="877809"/>
                  <a:pt x="1367111" y="884125"/>
                  <a:pt x="1361378" y="893500"/>
                </a:cubicBezTo>
                <a:cubicBezTo>
                  <a:pt x="1355677" y="884125"/>
                  <a:pt x="1345343" y="877809"/>
                  <a:pt x="1333575" y="877809"/>
                </a:cubicBezTo>
                <a:close/>
                <a:moveTo>
                  <a:pt x="1605798" y="877809"/>
                </a:moveTo>
                <a:cubicBezTo>
                  <a:pt x="1596797" y="877809"/>
                  <a:pt x="1588630" y="881499"/>
                  <a:pt x="1582729" y="887417"/>
                </a:cubicBezTo>
                <a:lnTo>
                  <a:pt x="1582729" y="882629"/>
                </a:lnTo>
                <a:cubicBezTo>
                  <a:pt x="1582729" y="880003"/>
                  <a:pt x="1580629" y="877909"/>
                  <a:pt x="1577996" y="877909"/>
                </a:cubicBezTo>
                <a:lnTo>
                  <a:pt x="1573262" y="877909"/>
                </a:lnTo>
                <a:lnTo>
                  <a:pt x="1573262" y="882629"/>
                </a:lnTo>
                <a:lnTo>
                  <a:pt x="1573262" y="956731"/>
                </a:lnTo>
                <a:cubicBezTo>
                  <a:pt x="1573262" y="959324"/>
                  <a:pt x="1575395" y="961452"/>
                  <a:pt x="1577996" y="961452"/>
                </a:cubicBezTo>
                <a:cubicBezTo>
                  <a:pt x="1580596" y="961452"/>
                  <a:pt x="1582729" y="959324"/>
                  <a:pt x="1582729" y="956731"/>
                </a:cubicBezTo>
                <a:lnTo>
                  <a:pt x="1582729" y="910289"/>
                </a:lnTo>
                <a:cubicBezTo>
                  <a:pt x="1582729" y="897589"/>
                  <a:pt x="1593064" y="887284"/>
                  <a:pt x="1605798" y="887284"/>
                </a:cubicBezTo>
                <a:cubicBezTo>
                  <a:pt x="1618533" y="887284"/>
                  <a:pt x="1628867" y="897623"/>
                  <a:pt x="1628867" y="910289"/>
                </a:cubicBezTo>
                <a:lnTo>
                  <a:pt x="1628867" y="956731"/>
                </a:lnTo>
                <a:cubicBezTo>
                  <a:pt x="1628867" y="959324"/>
                  <a:pt x="1631000" y="961452"/>
                  <a:pt x="1633600" y="961452"/>
                </a:cubicBezTo>
                <a:cubicBezTo>
                  <a:pt x="1636201" y="961452"/>
                  <a:pt x="1638334" y="959324"/>
                  <a:pt x="1638334" y="956731"/>
                </a:cubicBezTo>
                <a:lnTo>
                  <a:pt x="1638334" y="910289"/>
                </a:lnTo>
                <a:cubicBezTo>
                  <a:pt x="1638334" y="897589"/>
                  <a:pt x="1648702" y="887284"/>
                  <a:pt x="1661403" y="887284"/>
                </a:cubicBezTo>
                <a:cubicBezTo>
                  <a:pt x="1674104" y="887284"/>
                  <a:pt x="1684472" y="897623"/>
                  <a:pt x="1684472" y="910289"/>
                </a:cubicBezTo>
                <a:lnTo>
                  <a:pt x="1684472" y="956731"/>
                </a:lnTo>
                <a:cubicBezTo>
                  <a:pt x="1684472" y="959324"/>
                  <a:pt x="1686605" y="961452"/>
                  <a:pt x="1689205" y="961452"/>
                </a:cubicBezTo>
                <a:cubicBezTo>
                  <a:pt x="1691806" y="961452"/>
                  <a:pt x="1693939" y="959324"/>
                  <a:pt x="1693939" y="956731"/>
                </a:cubicBezTo>
                <a:lnTo>
                  <a:pt x="1693939" y="910289"/>
                </a:lnTo>
                <a:cubicBezTo>
                  <a:pt x="1693939" y="901346"/>
                  <a:pt x="1690289" y="893226"/>
                  <a:pt x="1684397" y="887342"/>
                </a:cubicBezTo>
                <a:lnTo>
                  <a:pt x="1661416" y="877814"/>
                </a:lnTo>
                <a:lnTo>
                  <a:pt x="1661436" y="877809"/>
                </a:lnTo>
                <a:lnTo>
                  <a:pt x="1661403" y="877809"/>
                </a:lnTo>
                <a:lnTo>
                  <a:pt x="1661416" y="877814"/>
                </a:lnTo>
                <a:lnTo>
                  <a:pt x="1645260" y="882139"/>
                </a:lnTo>
                <a:cubicBezTo>
                  <a:pt x="1640493" y="884890"/>
                  <a:pt x="1636484" y="888813"/>
                  <a:pt x="1633634" y="893500"/>
                </a:cubicBezTo>
                <a:cubicBezTo>
                  <a:pt x="1627933" y="884125"/>
                  <a:pt x="1617599" y="877809"/>
                  <a:pt x="1605798" y="877809"/>
                </a:cubicBezTo>
                <a:close/>
                <a:moveTo>
                  <a:pt x="1903457" y="852511"/>
                </a:moveTo>
                <a:lnTo>
                  <a:pt x="1903457" y="857232"/>
                </a:lnTo>
                <a:cubicBezTo>
                  <a:pt x="1903457" y="859825"/>
                  <a:pt x="1905591" y="861952"/>
                  <a:pt x="1908191" y="861952"/>
                </a:cubicBezTo>
                <a:cubicBezTo>
                  <a:pt x="1910791" y="861952"/>
                  <a:pt x="1912891" y="859825"/>
                  <a:pt x="1912891" y="857232"/>
                </a:cubicBezTo>
                <a:cubicBezTo>
                  <a:pt x="1912891" y="854639"/>
                  <a:pt x="1910791" y="852511"/>
                  <a:pt x="1908191" y="852511"/>
                </a:cubicBezTo>
                <a:close/>
                <a:moveTo>
                  <a:pt x="1090254" y="852511"/>
                </a:moveTo>
                <a:lnTo>
                  <a:pt x="1090254" y="857232"/>
                </a:lnTo>
                <a:cubicBezTo>
                  <a:pt x="1090254" y="859825"/>
                  <a:pt x="1092388" y="861952"/>
                  <a:pt x="1094988" y="861952"/>
                </a:cubicBezTo>
                <a:cubicBezTo>
                  <a:pt x="1097588" y="861952"/>
                  <a:pt x="1099721" y="859825"/>
                  <a:pt x="1099721" y="857232"/>
                </a:cubicBezTo>
                <a:cubicBezTo>
                  <a:pt x="1099721" y="854639"/>
                  <a:pt x="1097588" y="852511"/>
                  <a:pt x="1094988" y="852511"/>
                </a:cubicBezTo>
                <a:close/>
                <a:moveTo>
                  <a:pt x="737157" y="852511"/>
                </a:moveTo>
                <a:lnTo>
                  <a:pt x="737157" y="857231"/>
                </a:lnTo>
                <a:cubicBezTo>
                  <a:pt x="737157" y="859825"/>
                  <a:pt x="739291" y="861952"/>
                  <a:pt x="741891" y="861952"/>
                </a:cubicBezTo>
                <a:cubicBezTo>
                  <a:pt x="744491" y="861952"/>
                  <a:pt x="746624" y="859825"/>
                  <a:pt x="746624" y="857231"/>
                </a:cubicBezTo>
                <a:cubicBezTo>
                  <a:pt x="746624" y="854639"/>
                  <a:pt x="744524" y="852511"/>
                  <a:pt x="741891" y="852511"/>
                </a:cubicBezTo>
                <a:close/>
                <a:moveTo>
                  <a:pt x="605579" y="852510"/>
                </a:moveTo>
                <a:lnTo>
                  <a:pt x="605579" y="857231"/>
                </a:lnTo>
                <a:cubicBezTo>
                  <a:pt x="605579" y="859824"/>
                  <a:pt x="607713" y="861952"/>
                  <a:pt x="610313" y="861952"/>
                </a:cubicBezTo>
                <a:cubicBezTo>
                  <a:pt x="612913" y="861952"/>
                  <a:pt x="615013" y="859824"/>
                  <a:pt x="615013" y="857231"/>
                </a:cubicBezTo>
                <a:cubicBezTo>
                  <a:pt x="615013" y="854639"/>
                  <a:pt x="612913" y="852510"/>
                  <a:pt x="610313" y="852510"/>
                </a:cubicBezTo>
                <a:close/>
                <a:moveTo>
                  <a:pt x="1880089" y="842506"/>
                </a:moveTo>
                <a:cubicBezTo>
                  <a:pt x="1877489" y="842506"/>
                  <a:pt x="1875355" y="844600"/>
                  <a:pt x="1875355" y="847227"/>
                </a:cubicBezTo>
                <a:lnTo>
                  <a:pt x="1875355" y="893237"/>
                </a:lnTo>
                <a:cubicBezTo>
                  <a:pt x="1867654" y="883862"/>
                  <a:pt x="1855953" y="877878"/>
                  <a:pt x="1842886" y="877878"/>
                </a:cubicBezTo>
                <a:cubicBezTo>
                  <a:pt x="1819784" y="877878"/>
                  <a:pt x="1800982" y="896628"/>
                  <a:pt x="1800982" y="919666"/>
                </a:cubicBezTo>
                <a:cubicBezTo>
                  <a:pt x="1800982" y="942705"/>
                  <a:pt x="1819784" y="961454"/>
                  <a:pt x="1842886" y="961454"/>
                </a:cubicBezTo>
                <a:lnTo>
                  <a:pt x="1884823" y="961454"/>
                </a:lnTo>
                <a:lnTo>
                  <a:pt x="1884823" y="847227"/>
                </a:lnTo>
                <a:cubicBezTo>
                  <a:pt x="1884823" y="844600"/>
                  <a:pt x="1882689" y="842506"/>
                  <a:pt x="1880089" y="842506"/>
                </a:cubicBezTo>
                <a:close/>
                <a:moveTo>
                  <a:pt x="922306" y="842505"/>
                </a:moveTo>
                <a:cubicBezTo>
                  <a:pt x="919706" y="842505"/>
                  <a:pt x="917572" y="844599"/>
                  <a:pt x="917572" y="847226"/>
                </a:cubicBezTo>
                <a:lnTo>
                  <a:pt x="917572" y="949519"/>
                </a:lnTo>
                <a:cubicBezTo>
                  <a:pt x="917572" y="956101"/>
                  <a:pt x="922939" y="961453"/>
                  <a:pt x="929540" y="961453"/>
                </a:cubicBezTo>
                <a:cubicBezTo>
                  <a:pt x="932173" y="961453"/>
                  <a:pt x="934273" y="959359"/>
                  <a:pt x="934273" y="956733"/>
                </a:cubicBezTo>
                <a:cubicBezTo>
                  <a:pt x="934273" y="954106"/>
                  <a:pt x="932173" y="952012"/>
                  <a:pt x="929540" y="952012"/>
                </a:cubicBezTo>
                <a:cubicBezTo>
                  <a:pt x="928173" y="952012"/>
                  <a:pt x="927039" y="950915"/>
                  <a:pt x="927039" y="949519"/>
                </a:cubicBezTo>
                <a:lnTo>
                  <a:pt x="927039" y="847226"/>
                </a:lnTo>
                <a:cubicBezTo>
                  <a:pt x="927039" y="844599"/>
                  <a:pt x="924906" y="842505"/>
                  <a:pt x="922306" y="842505"/>
                </a:cubicBezTo>
                <a:close/>
                <a:moveTo>
                  <a:pt x="582310" y="842472"/>
                </a:moveTo>
                <a:cubicBezTo>
                  <a:pt x="579710" y="842472"/>
                  <a:pt x="577577" y="844566"/>
                  <a:pt x="577577" y="847193"/>
                </a:cubicBezTo>
                <a:lnTo>
                  <a:pt x="577577" y="893203"/>
                </a:lnTo>
                <a:cubicBezTo>
                  <a:pt x="569909" y="883828"/>
                  <a:pt x="558208" y="877844"/>
                  <a:pt x="545141" y="877844"/>
                </a:cubicBezTo>
                <a:cubicBezTo>
                  <a:pt x="522039" y="877844"/>
                  <a:pt x="503237" y="896561"/>
                  <a:pt x="503237" y="919632"/>
                </a:cubicBezTo>
                <a:cubicBezTo>
                  <a:pt x="503237" y="942704"/>
                  <a:pt x="522039" y="961454"/>
                  <a:pt x="545141" y="961454"/>
                </a:cubicBezTo>
                <a:lnTo>
                  <a:pt x="587044" y="961454"/>
                </a:lnTo>
                <a:lnTo>
                  <a:pt x="587044" y="961420"/>
                </a:lnTo>
                <a:lnTo>
                  <a:pt x="587044" y="847193"/>
                </a:lnTo>
                <a:cubicBezTo>
                  <a:pt x="587044" y="844566"/>
                  <a:pt x="584911" y="842472"/>
                  <a:pt x="582310" y="842472"/>
                </a:cubicBezTo>
                <a:close/>
                <a:moveTo>
                  <a:pt x="783228" y="842471"/>
                </a:moveTo>
                <a:cubicBezTo>
                  <a:pt x="780627" y="842471"/>
                  <a:pt x="778494" y="844565"/>
                  <a:pt x="778494" y="847192"/>
                </a:cubicBezTo>
                <a:lnTo>
                  <a:pt x="778494" y="877843"/>
                </a:lnTo>
                <a:lnTo>
                  <a:pt x="770560" y="877843"/>
                </a:lnTo>
                <a:cubicBezTo>
                  <a:pt x="767960" y="877843"/>
                  <a:pt x="765826" y="879937"/>
                  <a:pt x="765826" y="882564"/>
                </a:cubicBezTo>
                <a:cubicBezTo>
                  <a:pt x="765826" y="885190"/>
                  <a:pt x="767960" y="887284"/>
                  <a:pt x="770560" y="887284"/>
                </a:cubicBezTo>
                <a:lnTo>
                  <a:pt x="778494" y="887284"/>
                </a:lnTo>
                <a:lnTo>
                  <a:pt x="778494" y="936353"/>
                </a:lnTo>
                <a:cubicBezTo>
                  <a:pt x="778494" y="950183"/>
                  <a:pt x="789761" y="961419"/>
                  <a:pt x="803629" y="961419"/>
                </a:cubicBezTo>
                <a:cubicBezTo>
                  <a:pt x="805529" y="961419"/>
                  <a:pt x="807396" y="961220"/>
                  <a:pt x="809230" y="960788"/>
                </a:cubicBezTo>
                <a:lnTo>
                  <a:pt x="812782" y="955159"/>
                </a:lnTo>
                <a:lnTo>
                  <a:pt x="812797" y="955169"/>
                </a:lnTo>
                <a:lnTo>
                  <a:pt x="812797" y="955136"/>
                </a:lnTo>
                <a:lnTo>
                  <a:pt x="812782" y="955159"/>
                </a:lnTo>
                <a:lnTo>
                  <a:pt x="807130" y="951612"/>
                </a:lnTo>
                <a:cubicBezTo>
                  <a:pt x="805996" y="951878"/>
                  <a:pt x="804829" y="952011"/>
                  <a:pt x="803629" y="952011"/>
                </a:cubicBezTo>
                <a:cubicBezTo>
                  <a:pt x="794995" y="952011"/>
                  <a:pt x="787961" y="944997"/>
                  <a:pt x="787961" y="936353"/>
                </a:cubicBezTo>
                <a:lnTo>
                  <a:pt x="787961" y="887284"/>
                </a:lnTo>
                <a:lnTo>
                  <a:pt x="801296" y="887284"/>
                </a:lnTo>
                <a:cubicBezTo>
                  <a:pt x="803929" y="887284"/>
                  <a:pt x="806029" y="885157"/>
                  <a:pt x="806029" y="882564"/>
                </a:cubicBezTo>
                <a:cubicBezTo>
                  <a:pt x="806029" y="879971"/>
                  <a:pt x="803929" y="877843"/>
                  <a:pt x="801296" y="877843"/>
                </a:cubicBezTo>
                <a:lnTo>
                  <a:pt x="787961" y="877843"/>
                </a:lnTo>
                <a:lnTo>
                  <a:pt x="787961" y="847192"/>
                </a:lnTo>
                <a:cubicBezTo>
                  <a:pt x="787961" y="844565"/>
                  <a:pt x="785828" y="842471"/>
                  <a:pt x="783228" y="842471"/>
                </a:cubicBezTo>
                <a:close/>
                <a:moveTo>
                  <a:pt x="1082471" y="621681"/>
                </a:moveTo>
                <a:lnTo>
                  <a:pt x="1082487" y="621764"/>
                </a:lnTo>
                <a:lnTo>
                  <a:pt x="1082471" y="621847"/>
                </a:lnTo>
                <a:lnTo>
                  <a:pt x="1082454" y="621764"/>
                </a:lnTo>
                <a:close/>
                <a:moveTo>
                  <a:pt x="503237" y="474624"/>
                </a:moveTo>
                <a:lnTo>
                  <a:pt x="503237" y="621764"/>
                </a:lnTo>
                <a:cubicBezTo>
                  <a:pt x="503237" y="703046"/>
                  <a:pt x="568076" y="768936"/>
                  <a:pt x="648050" y="768936"/>
                </a:cubicBezTo>
                <a:cubicBezTo>
                  <a:pt x="728023" y="768936"/>
                  <a:pt x="792862" y="703079"/>
                  <a:pt x="792862" y="621764"/>
                </a:cubicBezTo>
                <a:cubicBezTo>
                  <a:pt x="792862" y="703046"/>
                  <a:pt x="857701" y="768936"/>
                  <a:pt x="937675" y="768936"/>
                </a:cubicBezTo>
                <a:cubicBezTo>
                  <a:pt x="997655" y="768936"/>
                  <a:pt x="1049122" y="731891"/>
                  <a:pt x="1071107" y="679064"/>
                </a:cubicBezTo>
                <a:lnTo>
                  <a:pt x="1082471" y="621847"/>
                </a:lnTo>
                <a:lnTo>
                  <a:pt x="1093830" y="679050"/>
                </a:lnTo>
                <a:cubicBezTo>
                  <a:pt x="1115807" y="731873"/>
                  <a:pt x="1167261" y="768936"/>
                  <a:pt x="1227266" y="768936"/>
                </a:cubicBezTo>
                <a:cubicBezTo>
                  <a:pt x="1253668" y="768936"/>
                  <a:pt x="1278404" y="761756"/>
                  <a:pt x="1299672" y="749222"/>
                </a:cubicBezTo>
                <a:cubicBezTo>
                  <a:pt x="1321008" y="761756"/>
                  <a:pt x="1345710" y="768936"/>
                  <a:pt x="1372079" y="768936"/>
                </a:cubicBezTo>
                <a:cubicBezTo>
                  <a:pt x="1452052" y="768936"/>
                  <a:pt x="1516891" y="703079"/>
                  <a:pt x="1516891" y="621764"/>
                </a:cubicBezTo>
                <a:cubicBezTo>
                  <a:pt x="1516891" y="540448"/>
                  <a:pt x="1452086" y="474624"/>
                  <a:pt x="1372112" y="474624"/>
                </a:cubicBezTo>
                <a:cubicBezTo>
                  <a:pt x="1345743" y="474624"/>
                  <a:pt x="1321041" y="481771"/>
                  <a:pt x="1299706" y="494304"/>
                </a:cubicBezTo>
                <a:lnTo>
                  <a:pt x="1299672" y="494304"/>
                </a:lnTo>
                <a:cubicBezTo>
                  <a:pt x="1278404" y="481805"/>
                  <a:pt x="1253668" y="474624"/>
                  <a:pt x="1227266" y="474624"/>
                </a:cubicBezTo>
                <a:cubicBezTo>
                  <a:pt x="1167261" y="474624"/>
                  <a:pt x="1115807" y="511668"/>
                  <a:pt x="1093830" y="564482"/>
                </a:cubicBezTo>
                <a:lnTo>
                  <a:pt x="1082471" y="621681"/>
                </a:lnTo>
                <a:lnTo>
                  <a:pt x="1071102" y="564468"/>
                </a:lnTo>
                <a:cubicBezTo>
                  <a:pt x="1049110" y="511650"/>
                  <a:pt x="997630" y="474624"/>
                  <a:pt x="937675" y="474624"/>
                </a:cubicBezTo>
                <a:cubicBezTo>
                  <a:pt x="857734" y="474624"/>
                  <a:pt x="792862" y="540480"/>
                  <a:pt x="792862" y="621764"/>
                </a:cubicBezTo>
                <a:cubicBezTo>
                  <a:pt x="792862" y="540448"/>
                  <a:pt x="728023" y="474624"/>
                  <a:pt x="648050" y="47462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93">
            <a:extLst>
              <a:ext uri="{FF2B5EF4-FFF2-40B4-BE49-F238E27FC236}">
                <a16:creationId xmlns:a16="http://schemas.microsoft.com/office/drawing/2014/main" id="{A4BB528D-3C6C-A4F6-28CB-961C40A4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104" name="Text Placeholder 97">
            <a:extLst>
              <a:ext uri="{FF2B5EF4-FFF2-40B4-BE49-F238E27FC236}">
                <a16:creationId xmlns:a16="http://schemas.microsoft.com/office/drawing/2014/main" id="{7715C1CB-E7DD-9650-27B7-2FFCEDAA02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106" name="Text Placeholder 105">
            <a:extLst>
              <a:ext uri="{FF2B5EF4-FFF2-40B4-BE49-F238E27FC236}">
                <a16:creationId xmlns:a16="http://schemas.microsoft.com/office/drawing/2014/main" id="{D6241F86-BB79-CE01-92AD-9E1080D3C5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88A7947-ED76-AB4D-2A61-201D27E7BC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4858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DB4912FB-BF45-369E-2C05-EDA8CEFB7A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847593"/>
            <a:ext cx="8137525" cy="6199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692773B-BC09-03FA-E77B-F818117074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7E07A83-8A58-1EEB-02FE-2E8A491AD9C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2E5D74-3441-3A2C-F9F2-45CD0940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50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AF220D82-920A-0AE0-FE7A-FB8B8CF3B7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62C86D94-8B04-40CA-DC9C-48754484623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1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84898404-F274-62C7-C4AD-B7765BB1C5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847593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1E9BD06-5E1A-3716-BA85-48F33CF54E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444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5F9719F7-6D45-EF36-0173-A5454AE0283B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38" y="617020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FBB4122A-45CF-D6B5-56C0-D87A270FCD23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17020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146F7068-0FAC-AE02-B1FB-5192A001BF5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38" y="1095785"/>
            <a:ext cx="3754341" cy="343568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48BA7CA-6439-2BA5-9288-B7051D0ED8B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3568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9F1DE51-8FC8-56E5-C3E2-B503200839CB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87377"/>
            <a:ext cx="0" cy="383258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F15E5B00-6298-B0AD-95A2-675CCBD30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40738F9-9A5E-8107-23FB-FAE1A7D9A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907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1C55DC53-DAA9-B944-B56D-7814A1FCFF3A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40" y="607965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5DC2BDF2-2E4D-6779-521A-82CD4161D311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07965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F8F3099E-967B-771D-D29F-B7E3C739449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40" y="1095785"/>
            <a:ext cx="3754341" cy="34482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3084EA5F-8D70-522F-5BA8-9C9DFE8F100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4826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D01BB5C9-1AC9-707E-45A2-CF90C8036711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93683"/>
            <a:ext cx="0" cy="3826277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CE23C554-27A6-469B-7EE8-6EEE04281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97628E8-A63E-4A7D-B8CF-1472C644BD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417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5E3172A-BCFF-227E-BF68-2F03B28192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FD65835-F844-8B16-D83D-E1AFA06AAB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AED028F-8D17-5A8F-FD4D-4459310AB9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8DEF1407-EA47-0179-B2CC-63047BA994C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32E323D-1076-9787-6A5A-B1EA3DAE11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59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B26C7E1-1CB6-16B9-82C6-D5053E6E7C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8306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E9FCB7E7-158C-0630-BFD8-6293F4D74A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368265C8-7A51-A861-17AF-C44B127A5A6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E2698914-B0A3-E0A1-5091-1792266BC7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8755F9-E6FA-289B-B17E-B6B74462D0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256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ints_with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1481EF27-90E3-035C-07C2-06A1EB2B1375}"/>
              </a:ext>
            </a:extLst>
          </p:cNvPr>
          <p:cNvSpPr/>
          <p:nvPr userDrawn="1"/>
        </p:nvSpPr>
        <p:spPr>
          <a:xfrm flipH="1">
            <a:off x="0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0C1B2230-B0E6-4F21-3B20-E6A77694D613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503239" y="339725"/>
            <a:ext cx="2624164" cy="2457450"/>
          </a:xfrm>
          <a:prstGeom prst="rect">
            <a:avLst/>
          </a:prstGeom>
        </p:spPr>
        <p:txBody>
          <a:bodyPr spcFirstLastPara="1" wrap="square" lIns="0" tIns="91425" rIns="91425" bIns="91425" anchor="b" anchorCtr="0">
            <a:noAutofit/>
          </a:bodyPr>
          <a:lstStyle>
            <a:lvl1pPr marL="0"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CLICK TO MASTER TITLE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6DA43D7-FF5F-D02F-8B55-FE99CA95CE3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3238" y="2834125"/>
            <a:ext cx="2624165" cy="792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899AE41E-B387-E5D6-F82E-2E2C7CA512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481BD0-B0BA-5AE4-1B9D-F218173AFB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0629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D0407CF-DF73-86E9-F9E7-D0B4A555A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2AC1E4F-A97A-0F4A-56B1-DABA04A82D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8000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66BCA6-F808-F982-F431-5984CC3940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762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0E3599A-E4E8-7A45-54D0-EB7B720586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1893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3E6813-E298-6CA0-C99A-3109E95D02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6655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57D4733-A43E-5042-EAA8-1DA82C8CF2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1417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8075CEC1-52A7-B05C-833E-802E704FB8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0" name="Google Shape;27;p5">
            <a:extLst>
              <a:ext uri="{FF2B5EF4-FFF2-40B4-BE49-F238E27FC236}">
                <a16:creationId xmlns:a16="http://schemas.microsoft.com/office/drawing/2014/main" id="{2C80D060-19B1-D3E9-4CB1-89F6B67573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2200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9C1DD0-0872-61DF-5CA2-424A7B0B0E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4690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_Phon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75C003DB-1C96-F033-9578-2D1AA26AEB8A}"/>
              </a:ext>
            </a:extLst>
          </p:cNvPr>
          <p:cNvSpPr/>
          <p:nvPr userDrawn="1"/>
        </p:nvSpPr>
        <p:spPr>
          <a:xfrm>
            <a:off x="5742432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">
            <a:extLst>
              <a:ext uri="{FF2B5EF4-FFF2-40B4-BE49-F238E27FC236}">
                <a16:creationId xmlns:a16="http://schemas.microsoft.com/office/drawing/2014/main" id="{89D0C638-D1E2-6B3C-18B7-C7927A115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673" y="130991"/>
            <a:ext cx="3517977" cy="454393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B26F86A-861D-1F4D-A970-679AE99F0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08370" y="563456"/>
            <a:ext cx="1841413" cy="3979217"/>
          </a:xfrm>
          <a:prstGeom prst="roundRect">
            <a:avLst>
              <a:gd name="adj" fmla="val 125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114300" indent="0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1430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Poppins"/>
              <a:buNone/>
              <a:tabLst/>
              <a:defRPr/>
            </a:pPr>
            <a:r>
              <a:rPr lang="en-US" dirty="0"/>
              <a:t>Click icon to insert picture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F5A1CA86-D354-2DB0-3EE0-91D9B69FE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FE5FCED-358D-C4AE-3FA4-62BB5760AD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5014694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B96D552C-213D-2AFD-FBEC-CBDAF7D0655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0C1516-0554-9A87-D12D-3CCC27EDB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21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ECB3A-457D-0781-E19A-D7366EF4DB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9392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13B069D-7FFB-5241-D95E-3B1401A4FE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28781" y="3474"/>
            <a:ext cx="7015219" cy="5143500"/>
          </a:xfrm>
          <a:custGeom>
            <a:avLst/>
            <a:gdLst>
              <a:gd name="connsiteX0" fmla="*/ 631835 w 7015219"/>
              <a:gd name="connsiteY0" fmla="*/ 0 h 5143500"/>
              <a:gd name="connsiteX1" fmla="*/ 7015219 w 7015219"/>
              <a:gd name="connsiteY1" fmla="*/ 0 h 5143500"/>
              <a:gd name="connsiteX2" fmla="*/ 7015219 w 7015219"/>
              <a:gd name="connsiteY2" fmla="*/ 5143500 h 5143500"/>
              <a:gd name="connsiteX3" fmla="*/ 944004 w 7015219"/>
              <a:gd name="connsiteY3" fmla="*/ 5143500 h 5143500"/>
              <a:gd name="connsiteX4" fmla="*/ 793027 w 7015219"/>
              <a:gd name="connsiteY4" fmla="*/ 4941291 h 5143500"/>
              <a:gd name="connsiteX5" fmla="*/ 0 w 7015219"/>
              <a:gd name="connsiteY5" fmla="*/ 2341106 h 5143500"/>
              <a:gd name="connsiteX6" fmla="*/ 560438 w 7015219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5219" h="5143500">
                <a:moveTo>
                  <a:pt x="631835" y="0"/>
                </a:moveTo>
                <a:lnTo>
                  <a:pt x="7015219" y="0"/>
                </a:lnTo>
                <a:lnTo>
                  <a:pt x="7015219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65836E-6AC8-63BF-5D4A-949EBEDF3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3E897342-7F9A-494C-DC74-3B179D96F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F53722F3-05E8-421E-8F4D-A8A09E0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C597FA8A-4C98-D5DD-86D3-03B2FA3C2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5AC484-C7A3-ED73-2D9D-63C8AE15BD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89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AAEE29E-D2F5-F2B0-576A-5B9515AA05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498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Image_No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0;p7">
            <a:extLst>
              <a:ext uri="{FF2B5EF4-FFF2-40B4-BE49-F238E27FC236}">
                <a16:creationId xmlns:a16="http://schemas.microsoft.com/office/drawing/2014/main" id="{07DA2F36-0880-36A1-0C58-2C765E1406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061635"/>
            <a:ext cx="3023733" cy="345480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C935D16-F4C3-31CC-AD47-49C7DF695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9E57A52-C331-0FCF-CB88-E6288C3810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41738" y="663576"/>
            <a:ext cx="5151437" cy="3852863"/>
          </a:xfrm>
          <a:prstGeom prst="roundRect">
            <a:avLst>
              <a:gd name="adj" fmla="val 547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5697851-3AE3-5A19-8239-20BAAAF4E2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164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ull_Image_Inse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B76C8D-0B0A-139E-C6F6-F1B2BEBE39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503238" y="1097459"/>
            <a:ext cx="2526765" cy="341897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35261" y="1311274"/>
            <a:ext cx="2050802" cy="263207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D5D02F1-7FFC-C7AA-1983-BD99B76D3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3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rgeImage_Stat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FCCD83F-4E5B-D412-5988-CD55D84155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8609" y="339725"/>
            <a:ext cx="8642350" cy="4176713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r>
              <a:rPr lang="en-GB" dirty="0"/>
              <a:t>Click to insert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6BDA6E0F-D70A-0681-96DF-8AB1BCC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86D037-7640-3551-EF5F-E0F1D098BD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15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Films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8489" y="339725"/>
            <a:ext cx="2928149" cy="436284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267" y="336369"/>
            <a:ext cx="2952838" cy="43628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BB0222B9-4DDF-0EDE-5C8B-2CD549ABE5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6E4348C-1C8F-0B8D-23DD-3D971BE983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196CD8-182A-FE22-C176-FFCBFA5492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334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hree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54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2056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CEACF24-B637-2132-3373-069F6027C0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363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D6C14A-A5A3-E523-B7E7-E06D1887C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1753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1753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17564D5F-6B62-C9F0-7547-E1AAA6FC73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3632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B81B84A8-2BE6-9707-2DCD-402AA7421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632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B8C713D-E295-0014-6A93-A3B479DD3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C4ADD8BC-4140-3CD6-ED98-8CD8805685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D8664F4-A8AE-2EA1-70F9-D13F95C906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835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8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830309"/>
            <a:ext cx="190479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078567"/>
            <a:ext cx="190479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5716" y="3830309"/>
            <a:ext cx="1920089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5716" y="4078567"/>
            <a:ext cx="1920089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8196" y="3830309"/>
            <a:ext cx="192008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196" y="4078567"/>
            <a:ext cx="192008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32452" y="3830309"/>
            <a:ext cx="1904797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2452" y="4078567"/>
            <a:ext cx="1904797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Picture Placeholder 9">
            <a:extLst>
              <a:ext uri="{FF2B5EF4-FFF2-40B4-BE49-F238E27FC236}">
                <a16:creationId xmlns:a16="http://schemas.microsoft.com/office/drawing/2014/main" id="{F2B8C259-0A8A-6272-4389-63082A65043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32453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535C0773-4C0D-05F3-3488-50EC3DA655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575717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9E7B861C-D1D4-8D89-9BAB-42850C824EC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654085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CFF3A82-5B52-F442-39C7-790BE73F7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3E0C988-90EA-A6F6-A055-FE9227C0A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55070C1-08CF-18C8-F462-09669D8E4C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922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ive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548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548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27737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27737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9" name="Text Placeholder 105">
            <a:extLst>
              <a:ext uri="{FF2B5EF4-FFF2-40B4-BE49-F238E27FC236}">
                <a16:creationId xmlns:a16="http://schemas.microsoft.com/office/drawing/2014/main" id="{8E81852A-0084-41D8-CFD2-8CAAAFE0E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9985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626720F4-1D92-5BA1-A05F-AEB6F4F9DE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9985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72D817F-D08C-8D30-9509-A1A7FFEB78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165488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1D9F2CEE-F278-D66B-1A93-09D19B7477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27737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3" name="Picture Placeholder 9">
            <a:extLst>
              <a:ext uri="{FF2B5EF4-FFF2-40B4-BE49-F238E27FC236}">
                <a16:creationId xmlns:a16="http://schemas.microsoft.com/office/drawing/2014/main" id="{E035A7E4-AB13-4D92-F79E-70B1474090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89985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83AFC15-724B-E120-54AB-2952012B6C5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52233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52233" y="3542186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2233" y="3790444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3FADAC-40AE-E73F-0C3A-4695167F4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9044444C-D212-AB94-594B-4E6B634ED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3BBB381-569B-484B-6C80-36DE7171A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A40C24-64CC-9B50-EB30-29DCD095E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1628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8_Imag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7191997-9F33-79AC-39F1-D6E978E5AF8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38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7A5575D-B5F0-48AA-B3CD-7817B04F46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67747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CB409AA-5780-4BD0-7522-451D45E38C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32256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845328A-6414-EF7F-CAAB-A46BBFEDAA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765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CB08262-67CD-4148-D79F-80A61AAB6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A0F424F-BF90-F130-EF9E-B079888362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2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5186A81-BF12-BE43-ECAB-419E23B90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6A50BF-6D54-AE14-3E84-55E3978767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03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7888A32-480F-4AB4-CCD5-D2E57602F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17028" y="11698"/>
            <a:ext cx="6026972" cy="5143500"/>
          </a:xfrm>
          <a:custGeom>
            <a:avLst/>
            <a:gdLst>
              <a:gd name="connsiteX0" fmla="*/ 631835 w 6026972"/>
              <a:gd name="connsiteY0" fmla="*/ 0 h 5143500"/>
              <a:gd name="connsiteX1" fmla="*/ 6026972 w 6026972"/>
              <a:gd name="connsiteY1" fmla="*/ 0 h 5143500"/>
              <a:gd name="connsiteX2" fmla="*/ 6026972 w 6026972"/>
              <a:gd name="connsiteY2" fmla="*/ 5143500 h 5143500"/>
              <a:gd name="connsiteX3" fmla="*/ 944004 w 6026972"/>
              <a:gd name="connsiteY3" fmla="*/ 5143500 h 5143500"/>
              <a:gd name="connsiteX4" fmla="*/ 793027 w 6026972"/>
              <a:gd name="connsiteY4" fmla="*/ 4941291 h 5143500"/>
              <a:gd name="connsiteX5" fmla="*/ 0 w 6026972"/>
              <a:gd name="connsiteY5" fmla="*/ 2341106 h 5143500"/>
              <a:gd name="connsiteX6" fmla="*/ 560438 w 6026972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6972" h="5143500">
                <a:moveTo>
                  <a:pt x="631835" y="0"/>
                </a:moveTo>
                <a:lnTo>
                  <a:pt x="6026972" y="0"/>
                </a:lnTo>
                <a:lnTo>
                  <a:pt x="6026972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C60209-4690-9177-41FD-7777D41BC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7FF9A50D-8BBE-5618-C4C3-E8D5A56F0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78616F62-4E41-6B33-4F43-13CA290B5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51EB5D0-B63D-7800-830B-C340BAE11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2001423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B159D1-5D3A-9199-8C5E-FC324B3C73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6160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06E883-474A-C7DB-7749-F3DA9108D5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5438" y="1238475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0A54CDE8-0E7A-8140-D72B-25EAE074114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93025" y="1226201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DCC6E9A-E9EE-AC82-C136-5A4FB891F0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0612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9A870B1F-50B5-08D5-4A46-6F9A595D07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8200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F5C0455C-E74E-5BCE-23DA-5F782B542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440" y="647645"/>
            <a:ext cx="8315324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F2FE4F5C-FEBF-536C-8CC4-F4E0943E22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25439" y="255057"/>
            <a:ext cx="831532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3AC262-0547-1D46-062C-44F68C075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494D0FD0-95BE-ECCF-C7AF-A2A8FB245C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438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79433E46-1519-0577-2A2C-E7018CE65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38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3BC09CBC-1DCB-DFC6-66ED-3264C2EF99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9576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D1B7C1F6-A34A-0FCD-7F14-AEFC482E9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576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8FC70179-BDD7-DFB8-F1A4-6ED304C27E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7274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072FC06C-767A-2E9C-DFF0-F7D2F072C8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7274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05">
            <a:extLst>
              <a:ext uri="{FF2B5EF4-FFF2-40B4-BE49-F238E27FC236}">
                <a16:creationId xmlns:a16="http://schemas.microsoft.com/office/drawing/2014/main" id="{C6777FA4-DBF8-E53C-2664-510AEB013B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0944" y="4023391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FD4BEC25-C6E4-7612-BF4E-E672C123D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0944" y="4304305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17226B-52FA-69C5-4FF7-D47FA67C1A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585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5063E85-EB5C-991E-4918-70B2EF6780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6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8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93CE246-6F6D-699F-42A1-194CA50786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9F1A6D6-D17E-5B07-34F1-E1C4D4D84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99825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0F32A0ED-8B3F-0806-C6B2-69539D0067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6008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684E74EA-D75D-06BF-FD73-ADFE0FF30E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1259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3D03C66-3A0F-B6B6-3C12-969BAC8832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670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7A3528F1-4E77-3EA5-DE5E-ED4D2506BE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93294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3D18364D-7C1A-D8E0-62BC-7E5EA81827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09477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BCF2F594-53AA-3EAB-BAE0-DB969DDC76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0606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1C7023BD-D935-1FFD-D6E0-44C81136EC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93598" y="915988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105F68BE-7B00-554F-1E3A-8803BEAE5D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93598" y="1164246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47424D2B-C7BF-A5D8-B052-AA1982176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6718" y="92905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7DB2316E-5368-BFC4-77D6-3895848C5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6718" y="1177309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58FE957A-7CE8-0C8F-8B3D-69BB1EF3A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2900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89918ACF-003E-A47D-3602-C67D2C0F1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12900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6E1FD7AE-8C39-40E6-F7ED-0D9A97082D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9488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576DFCE1-33EF-8675-65D0-C7C3DC7FE5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09488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4183614F-9135-704D-E5A7-229C5523DB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93598" y="2901542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A94E055C-3E68-048A-3704-CE7EAA8A6E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93598" y="3149800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7" name="Text Placeholder 105">
            <a:extLst>
              <a:ext uri="{FF2B5EF4-FFF2-40B4-BE49-F238E27FC236}">
                <a16:creationId xmlns:a16="http://schemas.microsoft.com/office/drawing/2014/main" id="{0074E9EB-0503-9D8C-FD2A-DDE3F74CF9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96718" y="291460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8" name="Text Placeholder 105">
            <a:extLst>
              <a:ext uri="{FF2B5EF4-FFF2-40B4-BE49-F238E27FC236}">
                <a16:creationId xmlns:a16="http://schemas.microsoft.com/office/drawing/2014/main" id="{52F5D194-B2E8-D82B-B34F-4D5CF317A4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96718" y="316286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9" name="Text Placeholder 105">
            <a:extLst>
              <a:ext uri="{FF2B5EF4-FFF2-40B4-BE49-F238E27FC236}">
                <a16:creationId xmlns:a16="http://schemas.microsoft.com/office/drawing/2014/main" id="{CA3B287F-020D-935F-65E8-56916A8B1A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12900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0" name="Text Placeholder 105">
            <a:extLst>
              <a:ext uri="{FF2B5EF4-FFF2-40B4-BE49-F238E27FC236}">
                <a16:creationId xmlns:a16="http://schemas.microsoft.com/office/drawing/2014/main" id="{147D5F3B-8C7A-AFF3-5EDB-83E650424B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2900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1" name="Text Placeholder 105">
            <a:extLst>
              <a:ext uri="{FF2B5EF4-FFF2-40B4-BE49-F238E27FC236}">
                <a16:creationId xmlns:a16="http://schemas.microsoft.com/office/drawing/2014/main" id="{35A74DA9-F860-5F64-EA4E-7AAD25DC83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09488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2" name="Text Placeholder 105">
            <a:extLst>
              <a:ext uri="{FF2B5EF4-FFF2-40B4-BE49-F238E27FC236}">
                <a16:creationId xmlns:a16="http://schemas.microsoft.com/office/drawing/2014/main" id="{753EF9B4-D0A1-7E53-F0B7-2A324BCD0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09488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3" name="Google Shape;27;p5">
            <a:extLst>
              <a:ext uri="{FF2B5EF4-FFF2-40B4-BE49-F238E27FC236}">
                <a16:creationId xmlns:a16="http://schemas.microsoft.com/office/drawing/2014/main" id="{9E326CE1-363A-C282-AB6E-8936B6524D3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736AB922-C890-1F73-7242-2B93F1F5C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FF0CC5B-C874-7CF3-E43E-278DA12012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72911C-7576-4171-096B-357F284356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451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171487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 hasCustomPrompt="1"/>
          </p:nvPr>
        </p:nvSpPr>
        <p:spPr>
          <a:xfrm>
            <a:off x="2602046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 hasCustomPrompt="1"/>
          </p:nvPr>
        </p:nvSpPr>
        <p:spPr>
          <a:xfrm>
            <a:off x="4032605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 hasCustomPrompt="1"/>
          </p:nvPr>
        </p:nvSpPr>
        <p:spPr>
          <a:xfrm>
            <a:off x="5463161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600" y="24295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 hasCustomPrompt="1"/>
          </p:nvPr>
        </p:nvSpPr>
        <p:spPr>
          <a:xfrm>
            <a:off x="6893720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 hasCustomPrompt="1"/>
          </p:nvPr>
        </p:nvSpPr>
        <p:spPr>
          <a:xfrm>
            <a:off x="1171487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 hasCustomPrompt="1"/>
          </p:nvPr>
        </p:nvSpPr>
        <p:spPr>
          <a:xfrm>
            <a:off x="2602046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 hasCustomPrompt="1"/>
          </p:nvPr>
        </p:nvSpPr>
        <p:spPr>
          <a:xfrm>
            <a:off x="4032605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 hasCustomPrompt="1"/>
          </p:nvPr>
        </p:nvSpPr>
        <p:spPr>
          <a:xfrm>
            <a:off x="5463161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 hasCustomPrompt="1"/>
          </p:nvPr>
        </p:nvSpPr>
        <p:spPr>
          <a:xfrm>
            <a:off x="6893720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8510F9D9-DF3C-7EC6-CC93-E2CBA423A8D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ADF43B3-96C1-ABF5-999F-59B55F2152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F277E8D1-3C83-2AD0-9771-DD531A4900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C01A078-D9E8-45AB-6F12-65D7EDE8C4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98831529-19C1-331E-3C85-564C9DBF455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173058" y="255147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71C5C94-1B91-81FC-C7FE-5406697182C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2597305" y="24350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5162B1E-0A88-508F-13C2-465AB271CC4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591763" y="255701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1D32CD7-4A1B-6ACC-AE8E-F457B41BCE4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02709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442AC97-4670-D8D9-5C8A-2209579CB62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402155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5B50B1-1CF1-B7F6-2D17-DC41CB3283E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546242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D115B14-83B6-638F-F804-E342F734BFF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545688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D34DAD6-CF7D-7E09-DC7C-1EEE7F74F6E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689221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D9A6C15A-58DD-9D04-2BA4-358E809528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688667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CE9A5A3E-1A9C-AB3D-B859-21170FD5F4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1167517" y="443569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04EE16D1-451B-74ED-9879-82B6F8BC173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1161975" y="455761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CA8EAE4F-E9D1-948A-3928-1FDAFB1A95F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2586222" y="444123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AF8E52F6-D2D2-036F-DF49-9AE4DFD1F29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2580680" y="45631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768415A-BB26-AF45-1F2C-BE566D3BFF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401601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C1435D5F-71BB-01FD-75F7-E413D2F0E53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401047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4700711F-22E8-24DD-47E0-48E9E186516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545134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E7DE7BF2-027C-37C0-505C-2EBC26A768A2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544580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0B78775-A496-4792-E8F2-A96E4906E81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688113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42DD2F0B-3BEB-101A-3943-85D1AB0067D8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687559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000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s_Round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7953539-4C66-7157-9D94-F275902FDC4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95B2C5-5687-39A0-5E1C-2A222BC322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AE23BC-B67C-D545-6C7B-3D52ADEE55A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908E0E0-8286-8BBE-98CF-50683A73CE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7BE96D3-02F3-4B73-BC96-CA5D9E7C82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A21E707-25E6-4081-893C-44DE40BC085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0D3A672-2F6D-1D30-5AC0-85E360EC52B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7795B50-934A-8DC1-C552-185B01A02AE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980B9B-120F-8C0D-D878-896733EFFF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29C4443-EB74-6EBB-EF7F-E4A79D32D7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9045823-15AF-9888-14F7-3F4FB875AF2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E5AFA453-C719-3F7B-5644-33CEEE1F1B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BD5AF968-F959-0756-914B-486213551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33B4AFE7-F421-847A-C0E5-AA3C1C3A4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28D4D27C-F4E1-4987-DCA2-510F231139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F0EBF418-248C-E0FF-16EE-CF3537A84BD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9F93F56-23D2-2F1A-5C45-7E3B138858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B0EAD6F2-9F9B-4250-316E-529FEE7A139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5D518E3C-5D66-C0D2-DA0A-B5D5D225ECD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081BB04-899E-75DC-A741-F875E7973DD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24879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10_Films_Round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6802B7-36F7-313E-A37E-D8AE04B8E6F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8B0D752-8779-AD43-4348-D734D53F3C5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63A5CBD2-DE16-8B5C-8016-46AD6ABA2ED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E47523DE-D105-9AB9-4AE3-B74A435C29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5EF6A9E1-B90E-AFC9-9BA9-0A74390EDA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56EF9D65-179A-1445-AB00-E93C80A417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847A5FAA-111A-F6D3-96A3-00FEBAED36D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AE4447-3731-E22B-7E1D-0F32216D81D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405C3BC-B7C8-7649-2425-EF8E6C05706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91A19436-D0D3-1DCD-CC1F-754E4E5B9B4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A35075C1-6DCE-8FA2-12F5-9D88F532EA0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1770602E-04B6-2A4E-190D-215706FA270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18986A02-FDA4-F859-3B7F-7A4EFE88C58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8E3B4E37-48CB-1C90-C561-C5E35DB560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2897093E-9DB2-6866-931F-A1557EC9C85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8B0B1A9C-6C49-E647-C852-A172320BF82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52970663-3E12-43F2-A94E-B16C8C57EA1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4FDAEE43-1752-3F57-B96D-A46AC0A1D93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03802DAD-EB25-D42E-F0E2-D5EF09F59AC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9D8D7465-0C6A-7AD5-8D71-33A5133F65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8810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2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0" y="-2250"/>
            <a:ext cx="4572000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F33B7E1-1171-5092-D86A-41925A967F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0"/>
            <a:ext cx="4572000" cy="2574000"/>
          </a:xfrm>
          <a:custGeom>
            <a:avLst/>
            <a:gdLst>
              <a:gd name="connsiteX0" fmla="*/ 956975 w 4572000"/>
              <a:gd name="connsiteY0" fmla="*/ 2400241 h 2574000"/>
              <a:gd name="connsiteX1" fmla="*/ 972400 w 4572000"/>
              <a:gd name="connsiteY1" fmla="*/ 2415608 h 2574000"/>
              <a:gd name="connsiteX2" fmla="*/ 972400 w 4572000"/>
              <a:gd name="connsiteY2" fmla="*/ 2430990 h 2574000"/>
              <a:gd name="connsiteX3" fmla="*/ 956975 w 4572000"/>
              <a:gd name="connsiteY3" fmla="*/ 2430990 h 2574000"/>
              <a:gd name="connsiteX4" fmla="*/ 941566 w 4572000"/>
              <a:gd name="connsiteY4" fmla="*/ 2415608 h 2574000"/>
              <a:gd name="connsiteX5" fmla="*/ 956975 w 4572000"/>
              <a:gd name="connsiteY5" fmla="*/ 2400241 h 2574000"/>
              <a:gd name="connsiteX6" fmla="*/ 849077 w 4572000"/>
              <a:gd name="connsiteY6" fmla="*/ 2400241 h 2574000"/>
              <a:gd name="connsiteX7" fmla="*/ 864328 w 4572000"/>
              <a:gd name="connsiteY7" fmla="*/ 2413365 h 2574000"/>
              <a:gd name="connsiteX8" fmla="*/ 833826 w 4572000"/>
              <a:gd name="connsiteY8" fmla="*/ 2413365 h 2574000"/>
              <a:gd name="connsiteX9" fmla="*/ 849077 w 4572000"/>
              <a:gd name="connsiteY9" fmla="*/ 2400241 h 2574000"/>
              <a:gd name="connsiteX10" fmla="*/ 720496 w 4572000"/>
              <a:gd name="connsiteY10" fmla="*/ 2400241 h 2574000"/>
              <a:gd name="connsiteX11" fmla="*/ 735922 w 4572000"/>
              <a:gd name="connsiteY11" fmla="*/ 2415608 h 2574000"/>
              <a:gd name="connsiteX12" fmla="*/ 735922 w 4572000"/>
              <a:gd name="connsiteY12" fmla="*/ 2430990 h 2574000"/>
              <a:gd name="connsiteX13" fmla="*/ 720496 w 4572000"/>
              <a:gd name="connsiteY13" fmla="*/ 2430990 h 2574000"/>
              <a:gd name="connsiteX14" fmla="*/ 705087 w 4572000"/>
              <a:gd name="connsiteY14" fmla="*/ 2415608 h 2574000"/>
              <a:gd name="connsiteX15" fmla="*/ 720496 w 4572000"/>
              <a:gd name="connsiteY15" fmla="*/ 2400241 h 2574000"/>
              <a:gd name="connsiteX16" fmla="*/ 612646 w 4572000"/>
              <a:gd name="connsiteY16" fmla="*/ 2400241 h 2574000"/>
              <a:gd name="connsiteX17" fmla="*/ 627897 w 4572000"/>
              <a:gd name="connsiteY17" fmla="*/ 2413365 h 2574000"/>
              <a:gd name="connsiteX18" fmla="*/ 597395 w 4572000"/>
              <a:gd name="connsiteY18" fmla="*/ 2413365 h 2574000"/>
              <a:gd name="connsiteX19" fmla="*/ 612646 w 4572000"/>
              <a:gd name="connsiteY19" fmla="*/ 2400241 h 2574000"/>
              <a:gd name="connsiteX20" fmla="*/ 429632 w 4572000"/>
              <a:gd name="connsiteY20" fmla="*/ 2400241 h 2574000"/>
              <a:gd name="connsiteX21" fmla="*/ 445042 w 4572000"/>
              <a:gd name="connsiteY21" fmla="*/ 2415608 h 2574000"/>
              <a:gd name="connsiteX22" fmla="*/ 445042 w 4572000"/>
              <a:gd name="connsiteY22" fmla="*/ 2430990 h 2574000"/>
              <a:gd name="connsiteX23" fmla="*/ 429632 w 4572000"/>
              <a:gd name="connsiteY23" fmla="*/ 2430990 h 2574000"/>
              <a:gd name="connsiteX24" fmla="*/ 414223 w 4572000"/>
              <a:gd name="connsiteY24" fmla="*/ 2415608 h 2574000"/>
              <a:gd name="connsiteX25" fmla="*/ 429632 w 4572000"/>
              <a:gd name="connsiteY25" fmla="*/ 2400241 h 2574000"/>
              <a:gd name="connsiteX26" fmla="*/ 278516 w 4572000"/>
              <a:gd name="connsiteY26" fmla="*/ 2400241 h 2574000"/>
              <a:gd name="connsiteX27" fmla="*/ 293926 w 4572000"/>
              <a:gd name="connsiteY27" fmla="*/ 2415608 h 2574000"/>
              <a:gd name="connsiteX28" fmla="*/ 293926 w 4572000"/>
              <a:gd name="connsiteY28" fmla="*/ 2430990 h 2574000"/>
              <a:gd name="connsiteX29" fmla="*/ 278516 w 4572000"/>
              <a:gd name="connsiteY29" fmla="*/ 2430990 h 2574000"/>
              <a:gd name="connsiteX30" fmla="*/ 263108 w 4572000"/>
              <a:gd name="connsiteY30" fmla="*/ 2415608 h 2574000"/>
              <a:gd name="connsiteX31" fmla="*/ 278516 w 4572000"/>
              <a:gd name="connsiteY31" fmla="*/ 2400241 h 2574000"/>
              <a:gd name="connsiteX32" fmla="*/ 895052 w 4572000"/>
              <a:gd name="connsiteY32" fmla="*/ 2400240 h 2574000"/>
              <a:gd name="connsiteX33" fmla="*/ 910477 w 4572000"/>
              <a:gd name="connsiteY33" fmla="*/ 2415607 h 2574000"/>
              <a:gd name="connsiteX34" fmla="*/ 910477 w 4572000"/>
              <a:gd name="connsiteY34" fmla="*/ 2430990 h 2574000"/>
              <a:gd name="connsiteX35" fmla="*/ 895052 w 4572000"/>
              <a:gd name="connsiteY35" fmla="*/ 2430990 h 2574000"/>
              <a:gd name="connsiteX36" fmla="*/ 879643 w 4572000"/>
              <a:gd name="connsiteY36" fmla="*/ 2415607 h 2574000"/>
              <a:gd name="connsiteX37" fmla="*/ 895052 w 4572000"/>
              <a:gd name="connsiteY37" fmla="*/ 2400240 h 2574000"/>
              <a:gd name="connsiteX38" fmla="*/ 340882 w 4572000"/>
              <a:gd name="connsiteY38" fmla="*/ 2400240 h 2574000"/>
              <a:gd name="connsiteX39" fmla="*/ 356292 w 4572000"/>
              <a:gd name="connsiteY39" fmla="*/ 2415607 h 2574000"/>
              <a:gd name="connsiteX40" fmla="*/ 340882 w 4572000"/>
              <a:gd name="connsiteY40" fmla="*/ 2430990 h 2574000"/>
              <a:gd name="connsiteX41" fmla="*/ 325473 w 4572000"/>
              <a:gd name="connsiteY41" fmla="*/ 2415607 h 2574000"/>
              <a:gd name="connsiteX42" fmla="*/ 340882 w 4572000"/>
              <a:gd name="connsiteY42" fmla="*/ 2400240 h 2574000"/>
              <a:gd name="connsiteX43" fmla="*/ 550105 w 4572000"/>
              <a:gd name="connsiteY43" fmla="*/ 2395786 h 2574000"/>
              <a:gd name="connsiteX44" fmla="*/ 550105 w 4572000"/>
              <a:gd name="connsiteY44" fmla="*/ 2433232 h 2574000"/>
              <a:gd name="connsiteX45" fmla="*/ 552354 w 4572000"/>
              <a:gd name="connsiteY45" fmla="*/ 2435475 h 2574000"/>
              <a:gd name="connsiteX46" fmla="*/ 554603 w 4572000"/>
              <a:gd name="connsiteY46" fmla="*/ 2433232 h 2574000"/>
              <a:gd name="connsiteX47" fmla="*/ 554603 w 4572000"/>
              <a:gd name="connsiteY47" fmla="*/ 2419066 h 2574000"/>
              <a:gd name="connsiteX48" fmla="*/ 554603 w 4572000"/>
              <a:gd name="connsiteY48" fmla="*/ 2413980 h 2574000"/>
              <a:gd name="connsiteX49" fmla="*/ 568365 w 4572000"/>
              <a:gd name="connsiteY49" fmla="*/ 2400271 h 2574000"/>
              <a:gd name="connsiteX50" fmla="*/ 582128 w 4572000"/>
              <a:gd name="connsiteY50" fmla="*/ 2413996 h 2574000"/>
              <a:gd name="connsiteX51" fmla="*/ 582128 w 4572000"/>
              <a:gd name="connsiteY51" fmla="*/ 2433232 h 2574000"/>
              <a:gd name="connsiteX52" fmla="*/ 584376 w 4572000"/>
              <a:gd name="connsiteY52" fmla="*/ 2435475 h 2574000"/>
              <a:gd name="connsiteX53" fmla="*/ 586625 w 4572000"/>
              <a:gd name="connsiteY53" fmla="*/ 2433232 h 2574000"/>
              <a:gd name="connsiteX54" fmla="*/ 586625 w 4572000"/>
              <a:gd name="connsiteY54" fmla="*/ 2413996 h 2574000"/>
              <a:gd name="connsiteX55" fmla="*/ 568381 w 4572000"/>
              <a:gd name="connsiteY55" fmla="*/ 2395786 h 2574000"/>
              <a:gd name="connsiteX56" fmla="*/ 568365 w 4572000"/>
              <a:gd name="connsiteY56" fmla="*/ 2395786 h 2574000"/>
              <a:gd name="connsiteX57" fmla="*/ 554603 w 4572000"/>
              <a:gd name="connsiteY57" fmla="*/ 2402040 h 2574000"/>
              <a:gd name="connsiteX58" fmla="*/ 554603 w 4572000"/>
              <a:gd name="connsiteY58" fmla="*/ 2398029 h 2574000"/>
              <a:gd name="connsiteX59" fmla="*/ 552354 w 4572000"/>
              <a:gd name="connsiteY59" fmla="*/ 2395786 h 2574000"/>
              <a:gd name="connsiteX60" fmla="*/ 956975 w 4572000"/>
              <a:gd name="connsiteY60" fmla="*/ 2395771 h 2574000"/>
              <a:gd name="connsiteX61" fmla="*/ 937068 w 4572000"/>
              <a:gd name="connsiteY61" fmla="*/ 2415623 h 2574000"/>
              <a:gd name="connsiteX62" fmla="*/ 956975 w 4572000"/>
              <a:gd name="connsiteY62" fmla="*/ 2435476 h 2574000"/>
              <a:gd name="connsiteX63" fmla="*/ 976882 w 4572000"/>
              <a:gd name="connsiteY63" fmla="*/ 2435476 h 2574000"/>
              <a:gd name="connsiteX64" fmla="*/ 976882 w 4572000"/>
              <a:gd name="connsiteY64" fmla="*/ 2415623 h 2574000"/>
              <a:gd name="connsiteX65" fmla="*/ 956975 w 4572000"/>
              <a:gd name="connsiteY65" fmla="*/ 2395771 h 2574000"/>
              <a:gd name="connsiteX66" fmla="*/ 849077 w 4572000"/>
              <a:gd name="connsiteY66" fmla="*/ 2395771 h 2574000"/>
              <a:gd name="connsiteX67" fmla="*/ 829170 w 4572000"/>
              <a:gd name="connsiteY67" fmla="*/ 2415623 h 2574000"/>
              <a:gd name="connsiteX68" fmla="*/ 849077 w 4572000"/>
              <a:gd name="connsiteY68" fmla="*/ 2435476 h 2574000"/>
              <a:gd name="connsiteX69" fmla="*/ 861272 w 4572000"/>
              <a:gd name="connsiteY69" fmla="*/ 2431322 h 2574000"/>
              <a:gd name="connsiteX70" fmla="*/ 861668 w 4572000"/>
              <a:gd name="connsiteY70" fmla="*/ 2428179 h 2574000"/>
              <a:gd name="connsiteX71" fmla="*/ 858516 w 4572000"/>
              <a:gd name="connsiteY71" fmla="*/ 2427784 h 2574000"/>
              <a:gd name="connsiteX72" fmla="*/ 849077 w 4572000"/>
              <a:gd name="connsiteY72" fmla="*/ 2431006 h 2574000"/>
              <a:gd name="connsiteX73" fmla="*/ 833826 w 4572000"/>
              <a:gd name="connsiteY73" fmla="*/ 2417866 h 2574000"/>
              <a:gd name="connsiteX74" fmla="*/ 866735 w 4572000"/>
              <a:gd name="connsiteY74" fmla="*/ 2417866 h 2574000"/>
              <a:gd name="connsiteX75" fmla="*/ 868984 w 4572000"/>
              <a:gd name="connsiteY75" fmla="*/ 2415623 h 2574000"/>
              <a:gd name="connsiteX76" fmla="*/ 849077 w 4572000"/>
              <a:gd name="connsiteY76" fmla="*/ 2395771 h 2574000"/>
              <a:gd name="connsiteX77" fmla="*/ 720496 w 4572000"/>
              <a:gd name="connsiteY77" fmla="*/ 2395771 h 2574000"/>
              <a:gd name="connsiteX78" fmla="*/ 700590 w 4572000"/>
              <a:gd name="connsiteY78" fmla="*/ 2415623 h 2574000"/>
              <a:gd name="connsiteX79" fmla="*/ 720496 w 4572000"/>
              <a:gd name="connsiteY79" fmla="*/ 2435476 h 2574000"/>
              <a:gd name="connsiteX80" fmla="*/ 740419 w 4572000"/>
              <a:gd name="connsiteY80" fmla="*/ 2435476 h 2574000"/>
              <a:gd name="connsiteX81" fmla="*/ 740419 w 4572000"/>
              <a:gd name="connsiteY81" fmla="*/ 2415623 h 2574000"/>
              <a:gd name="connsiteX82" fmla="*/ 720496 w 4572000"/>
              <a:gd name="connsiteY82" fmla="*/ 2395771 h 2574000"/>
              <a:gd name="connsiteX83" fmla="*/ 612646 w 4572000"/>
              <a:gd name="connsiteY83" fmla="*/ 2395771 h 2574000"/>
              <a:gd name="connsiteX84" fmla="*/ 592740 w 4572000"/>
              <a:gd name="connsiteY84" fmla="*/ 2415623 h 2574000"/>
              <a:gd name="connsiteX85" fmla="*/ 612646 w 4572000"/>
              <a:gd name="connsiteY85" fmla="*/ 2435476 h 2574000"/>
              <a:gd name="connsiteX86" fmla="*/ 624841 w 4572000"/>
              <a:gd name="connsiteY86" fmla="*/ 2431322 h 2574000"/>
              <a:gd name="connsiteX87" fmla="*/ 625237 w 4572000"/>
              <a:gd name="connsiteY87" fmla="*/ 2428179 h 2574000"/>
              <a:gd name="connsiteX88" fmla="*/ 622085 w 4572000"/>
              <a:gd name="connsiteY88" fmla="*/ 2427784 h 2574000"/>
              <a:gd name="connsiteX89" fmla="*/ 612646 w 4572000"/>
              <a:gd name="connsiteY89" fmla="*/ 2431006 h 2574000"/>
              <a:gd name="connsiteX90" fmla="*/ 597395 w 4572000"/>
              <a:gd name="connsiteY90" fmla="*/ 2417866 h 2574000"/>
              <a:gd name="connsiteX91" fmla="*/ 630304 w 4572000"/>
              <a:gd name="connsiteY91" fmla="*/ 2417866 h 2574000"/>
              <a:gd name="connsiteX92" fmla="*/ 632554 w 4572000"/>
              <a:gd name="connsiteY92" fmla="*/ 2415623 h 2574000"/>
              <a:gd name="connsiteX93" fmla="*/ 612646 w 4572000"/>
              <a:gd name="connsiteY93" fmla="*/ 2395771 h 2574000"/>
              <a:gd name="connsiteX94" fmla="*/ 513331 w 4572000"/>
              <a:gd name="connsiteY94" fmla="*/ 2395771 h 2574000"/>
              <a:gd name="connsiteX95" fmla="*/ 493424 w 4572000"/>
              <a:gd name="connsiteY95" fmla="*/ 2415623 h 2574000"/>
              <a:gd name="connsiteX96" fmla="*/ 513331 w 4572000"/>
              <a:gd name="connsiteY96" fmla="*/ 2435476 h 2574000"/>
              <a:gd name="connsiteX97" fmla="*/ 526001 w 4572000"/>
              <a:gd name="connsiteY97" fmla="*/ 2430927 h 2574000"/>
              <a:gd name="connsiteX98" fmla="*/ 526302 w 4572000"/>
              <a:gd name="connsiteY98" fmla="*/ 2427768 h 2574000"/>
              <a:gd name="connsiteX99" fmla="*/ 523134 w 4572000"/>
              <a:gd name="connsiteY99" fmla="*/ 2427468 h 2574000"/>
              <a:gd name="connsiteX100" fmla="*/ 513331 w 4572000"/>
              <a:gd name="connsiteY100" fmla="*/ 2430990 h 2574000"/>
              <a:gd name="connsiteX101" fmla="*/ 497906 w 4572000"/>
              <a:gd name="connsiteY101" fmla="*/ 2415608 h 2574000"/>
              <a:gd name="connsiteX102" fmla="*/ 513331 w 4572000"/>
              <a:gd name="connsiteY102" fmla="*/ 2400241 h 2574000"/>
              <a:gd name="connsiteX103" fmla="*/ 523134 w 4572000"/>
              <a:gd name="connsiteY103" fmla="*/ 2403762 h 2574000"/>
              <a:gd name="connsiteX104" fmla="*/ 526302 w 4572000"/>
              <a:gd name="connsiteY104" fmla="*/ 2403462 h 2574000"/>
              <a:gd name="connsiteX105" fmla="*/ 526001 w 4572000"/>
              <a:gd name="connsiteY105" fmla="*/ 2400304 h 2574000"/>
              <a:gd name="connsiteX106" fmla="*/ 513331 w 4572000"/>
              <a:gd name="connsiteY106" fmla="*/ 2395771 h 2574000"/>
              <a:gd name="connsiteX107" fmla="*/ 429648 w 4572000"/>
              <a:gd name="connsiteY107" fmla="*/ 2395771 h 2574000"/>
              <a:gd name="connsiteX108" fmla="*/ 409741 w 4572000"/>
              <a:gd name="connsiteY108" fmla="*/ 2415623 h 2574000"/>
              <a:gd name="connsiteX109" fmla="*/ 429648 w 4572000"/>
              <a:gd name="connsiteY109" fmla="*/ 2435476 h 2574000"/>
              <a:gd name="connsiteX110" fmla="*/ 449555 w 4572000"/>
              <a:gd name="connsiteY110" fmla="*/ 2435476 h 2574000"/>
              <a:gd name="connsiteX111" fmla="*/ 449555 w 4572000"/>
              <a:gd name="connsiteY111" fmla="*/ 2415623 h 2574000"/>
              <a:gd name="connsiteX112" fmla="*/ 429648 w 4572000"/>
              <a:gd name="connsiteY112" fmla="*/ 2395771 h 2574000"/>
              <a:gd name="connsiteX113" fmla="*/ 926061 w 4572000"/>
              <a:gd name="connsiteY113" fmla="*/ 2395755 h 2574000"/>
              <a:gd name="connsiteX114" fmla="*/ 923812 w 4572000"/>
              <a:gd name="connsiteY114" fmla="*/ 2397998 h 2574000"/>
              <a:gd name="connsiteX115" fmla="*/ 923812 w 4572000"/>
              <a:gd name="connsiteY115" fmla="*/ 2433233 h 2574000"/>
              <a:gd name="connsiteX116" fmla="*/ 926061 w 4572000"/>
              <a:gd name="connsiteY116" fmla="*/ 2435475 h 2574000"/>
              <a:gd name="connsiteX117" fmla="*/ 928294 w 4572000"/>
              <a:gd name="connsiteY117" fmla="*/ 2433233 h 2574000"/>
              <a:gd name="connsiteX118" fmla="*/ 928294 w 4572000"/>
              <a:gd name="connsiteY118" fmla="*/ 2397998 h 2574000"/>
              <a:gd name="connsiteX119" fmla="*/ 926061 w 4572000"/>
              <a:gd name="connsiteY119" fmla="*/ 2395755 h 2574000"/>
              <a:gd name="connsiteX120" fmla="*/ 539732 w 4572000"/>
              <a:gd name="connsiteY120" fmla="*/ 2395755 h 2574000"/>
              <a:gd name="connsiteX121" fmla="*/ 537483 w 4572000"/>
              <a:gd name="connsiteY121" fmla="*/ 2397998 h 2574000"/>
              <a:gd name="connsiteX122" fmla="*/ 537483 w 4572000"/>
              <a:gd name="connsiteY122" fmla="*/ 2433233 h 2574000"/>
              <a:gd name="connsiteX123" fmla="*/ 539732 w 4572000"/>
              <a:gd name="connsiteY123" fmla="*/ 2435475 h 2574000"/>
              <a:gd name="connsiteX124" fmla="*/ 541981 w 4572000"/>
              <a:gd name="connsiteY124" fmla="*/ 2433233 h 2574000"/>
              <a:gd name="connsiteX125" fmla="*/ 541981 w 4572000"/>
              <a:gd name="connsiteY125" fmla="*/ 2397998 h 2574000"/>
              <a:gd name="connsiteX126" fmla="*/ 539732 w 4572000"/>
              <a:gd name="connsiteY126" fmla="*/ 2395755 h 2574000"/>
              <a:gd name="connsiteX127" fmla="*/ 371986 w 4572000"/>
              <a:gd name="connsiteY127" fmla="*/ 2395755 h 2574000"/>
              <a:gd name="connsiteX128" fmla="*/ 369737 w 4572000"/>
              <a:gd name="connsiteY128" fmla="*/ 2397998 h 2574000"/>
              <a:gd name="connsiteX129" fmla="*/ 369737 w 4572000"/>
              <a:gd name="connsiteY129" fmla="*/ 2433233 h 2574000"/>
              <a:gd name="connsiteX130" fmla="*/ 371986 w 4572000"/>
              <a:gd name="connsiteY130" fmla="*/ 2435475 h 2574000"/>
              <a:gd name="connsiteX131" fmla="*/ 374235 w 4572000"/>
              <a:gd name="connsiteY131" fmla="*/ 2433233 h 2574000"/>
              <a:gd name="connsiteX132" fmla="*/ 374235 w 4572000"/>
              <a:gd name="connsiteY132" fmla="*/ 2397998 h 2574000"/>
              <a:gd name="connsiteX133" fmla="*/ 371986 w 4572000"/>
              <a:gd name="connsiteY133" fmla="*/ 2395755 h 2574000"/>
              <a:gd name="connsiteX134" fmla="*/ 340882 w 4572000"/>
              <a:gd name="connsiteY134" fmla="*/ 2395755 h 2574000"/>
              <a:gd name="connsiteX135" fmla="*/ 320975 w 4572000"/>
              <a:gd name="connsiteY135" fmla="*/ 2415607 h 2574000"/>
              <a:gd name="connsiteX136" fmla="*/ 340882 w 4572000"/>
              <a:gd name="connsiteY136" fmla="*/ 2435460 h 2574000"/>
              <a:gd name="connsiteX137" fmla="*/ 356292 w 4572000"/>
              <a:gd name="connsiteY137" fmla="*/ 2428163 h 2574000"/>
              <a:gd name="connsiteX138" fmla="*/ 356292 w 4572000"/>
              <a:gd name="connsiteY138" fmla="*/ 2433233 h 2574000"/>
              <a:gd name="connsiteX139" fmla="*/ 340882 w 4572000"/>
              <a:gd name="connsiteY139" fmla="*/ 2448600 h 2574000"/>
              <a:gd name="connsiteX140" fmla="*/ 326709 w 4572000"/>
              <a:gd name="connsiteY140" fmla="*/ 2439297 h 2574000"/>
              <a:gd name="connsiteX141" fmla="*/ 323746 w 4572000"/>
              <a:gd name="connsiteY141" fmla="*/ 2438129 h 2574000"/>
              <a:gd name="connsiteX142" fmla="*/ 322575 w 4572000"/>
              <a:gd name="connsiteY142" fmla="*/ 2441082 h 2574000"/>
              <a:gd name="connsiteX143" fmla="*/ 340882 w 4572000"/>
              <a:gd name="connsiteY143" fmla="*/ 2453101 h 2574000"/>
              <a:gd name="connsiteX144" fmla="*/ 360789 w 4572000"/>
              <a:gd name="connsiteY144" fmla="*/ 2433249 h 2574000"/>
              <a:gd name="connsiteX145" fmla="*/ 360789 w 4572000"/>
              <a:gd name="connsiteY145" fmla="*/ 2415623 h 2574000"/>
              <a:gd name="connsiteX146" fmla="*/ 340882 w 4572000"/>
              <a:gd name="connsiteY146" fmla="*/ 2395771 h 2574000"/>
              <a:gd name="connsiteX147" fmla="*/ 309477 w 4572000"/>
              <a:gd name="connsiteY147" fmla="*/ 2395755 h 2574000"/>
              <a:gd name="connsiteX148" fmla="*/ 307245 w 4572000"/>
              <a:gd name="connsiteY148" fmla="*/ 2397998 h 2574000"/>
              <a:gd name="connsiteX149" fmla="*/ 307245 w 4572000"/>
              <a:gd name="connsiteY149" fmla="*/ 2433233 h 2574000"/>
              <a:gd name="connsiteX150" fmla="*/ 309477 w 4572000"/>
              <a:gd name="connsiteY150" fmla="*/ 2435475 h 2574000"/>
              <a:gd name="connsiteX151" fmla="*/ 311726 w 4572000"/>
              <a:gd name="connsiteY151" fmla="*/ 2433233 h 2574000"/>
              <a:gd name="connsiteX152" fmla="*/ 311726 w 4572000"/>
              <a:gd name="connsiteY152" fmla="*/ 2397998 h 2574000"/>
              <a:gd name="connsiteX153" fmla="*/ 309477 w 4572000"/>
              <a:gd name="connsiteY153" fmla="*/ 2395755 h 2574000"/>
              <a:gd name="connsiteX154" fmla="*/ 782403 w 4572000"/>
              <a:gd name="connsiteY154" fmla="*/ 2395739 h 2574000"/>
              <a:gd name="connsiteX155" fmla="*/ 771444 w 4572000"/>
              <a:gd name="connsiteY155" fmla="*/ 2400303 h 2574000"/>
              <a:gd name="connsiteX156" fmla="*/ 771444 w 4572000"/>
              <a:gd name="connsiteY156" fmla="*/ 2398029 h 2574000"/>
              <a:gd name="connsiteX157" fmla="*/ 769195 w 4572000"/>
              <a:gd name="connsiteY157" fmla="*/ 2395786 h 2574000"/>
              <a:gd name="connsiteX158" fmla="*/ 766946 w 4572000"/>
              <a:gd name="connsiteY158" fmla="*/ 2395786 h 2574000"/>
              <a:gd name="connsiteX159" fmla="*/ 766946 w 4572000"/>
              <a:gd name="connsiteY159" fmla="*/ 2398029 h 2574000"/>
              <a:gd name="connsiteX160" fmla="*/ 766946 w 4572000"/>
              <a:gd name="connsiteY160" fmla="*/ 2433233 h 2574000"/>
              <a:gd name="connsiteX161" fmla="*/ 769195 w 4572000"/>
              <a:gd name="connsiteY161" fmla="*/ 2435475 h 2574000"/>
              <a:gd name="connsiteX162" fmla="*/ 771444 w 4572000"/>
              <a:gd name="connsiteY162" fmla="*/ 2433233 h 2574000"/>
              <a:gd name="connsiteX163" fmla="*/ 771444 w 4572000"/>
              <a:gd name="connsiteY163" fmla="*/ 2411169 h 2574000"/>
              <a:gd name="connsiteX164" fmla="*/ 782403 w 4572000"/>
              <a:gd name="connsiteY164" fmla="*/ 2400240 h 2574000"/>
              <a:gd name="connsiteX165" fmla="*/ 793362 w 4572000"/>
              <a:gd name="connsiteY165" fmla="*/ 2411169 h 2574000"/>
              <a:gd name="connsiteX166" fmla="*/ 793362 w 4572000"/>
              <a:gd name="connsiteY166" fmla="*/ 2433233 h 2574000"/>
              <a:gd name="connsiteX167" fmla="*/ 795611 w 4572000"/>
              <a:gd name="connsiteY167" fmla="*/ 2435475 h 2574000"/>
              <a:gd name="connsiteX168" fmla="*/ 797860 w 4572000"/>
              <a:gd name="connsiteY168" fmla="*/ 2433233 h 2574000"/>
              <a:gd name="connsiteX169" fmla="*/ 797860 w 4572000"/>
              <a:gd name="connsiteY169" fmla="*/ 2411169 h 2574000"/>
              <a:gd name="connsiteX170" fmla="*/ 808819 w 4572000"/>
              <a:gd name="connsiteY170" fmla="*/ 2400240 h 2574000"/>
              <a:gd name="connsiteX171" fmla="*/ 819778 w 4572000"/>
              <a:gd name="connsiteY171" fmla="*/ 2411169 h 2574000"/>
              <a:gd name="connsiteX172" fmla="*/ 819778 w 4572000"/>
              <a:gd name="connsiteY172" fmla="*/ 2433233 h 2574000"/>
              <a:gd name="connsiteX173" fmla="*/ 822027 w 4572000"/>
              <a:gd name="connsiteY173" fmla="*/ 2435475 h 2574000"/>
              <a:gd name="connsiteX174" fmla="*/ 824276 w 4572000"/>
              <a:gd name="connsiteY174" fmla="*/ 2433233 h 2574000"/>
              <a:gd name="connsiteX175" fmla="*/ 824276 w 4572000"/>
              <a:gd name="connsiteY175" fmla="*/ 2411169 h 2574000"/>
              <a:gd name="connsiteX176" fmla="*/ 819743 w 4572000"/>
              <a:gd name="connsiteY176" fmla="*/ 2400268 h 2574000"/>
              <a:gd name="connsiteX177" fmla="*/ 808828 w 4572000"/>
              <a:gd name="connsiteY177" fmla="*/ 2395743 h 2574000"/>
              <a:gd name="connsiteX178" fmla="*/ 808835 w 4572000"/>
              <a:gd name="connsiteY178" fmla="*/ 2395739 h 2574000"/>
              <a:gd name="connsiteX179" fmla="*/ 808819 w 4572000"/>
              <a:gd name="connsiteY179" fmla="*/ 2395739 h 2574000"/>
              <a:gd name="connsiteX180" fmla="*/ 808828 w 4572000"/>
              <a:gd name="connsiteY180" fmla="*/ 2395743 h 2574000"/>
              <a:gd name="connsiteX181" fmla="*/ 795627 w 4572000"/>
              <a:gd name="connsiteY181" fmla="*/ 2403193 h 2574000"/>
              <a:gd name="connsiteX182" fmla="*/ 782403 w 4572000"/>
              <a:gd name="connsiteY182" fmla="*/ 2395739 h 2574000"/>
              <a:gd name="connsiteX183" fmla="*/ 653078 w 4572000"/>
              <a:gd name="connsiteY183" fmla="*/ 2395739 h 2574000"/>
              <a:gd name="connsiteX184" fmla="*/ 642119 w 4572000"/>
              <a:gd name="connsiteY184" fmla="*/ 2400303 h 2574000"/>
              <a:gd name="connsiteX185" fmla="*/ 642119 w 4572000"/>
              <a:gd name="connsiteY185" fmla="*/ 2398029 h 2574000"/>
              <a:gd name="connsiteX186" fmla="*/ 639870 w 4572000"/>
              <a:gd name="connsiteY186" fmla="*/ 2395786 h 2574000"/>
              <a:gd name="connsiteX187" fmla="*/ 637621 w 4572000"/>
              <a:gd name="connsiteY187" fmla="*/ 2395786 h 2574000"/>
              <a:gd name="connsiteX188" fmla="*/ 637621 w 4572000"/>
              <a:gd name="connsiteY188" fmla="*/ 2398029 h 2574000"/>
              <a:gd name="connsiteX189" fmla="*/ 637621 w 4572000"/>
              <a:gd name="connsiteY189" fmla="*/ 2433233 h 2574000"/>
              <a:gd name="connsiteX190" fmla="*/ 639870 w 4572000"/>
              <a:gd name="connsiteY190" fmla="*/ 2435475 h 2574000"/>
              <a:gd name="connsiteX191" fmla="*/ 642119 w 4572000"/>
              <a:gd name="connsiteY191" fmla="*/ 2433233 h 2574000"/>
              <a:gd name="connsiteX192" fmla="*/ 642119 w 4572000"/>
              <a:gd name="connsiteY192" fmla="*/ 2411169 h 2574000"/>
              <a:gd name="connsiteX193" fmla="*/ 653078 w 4572000"/>
              <a:gd name="connsiteY193" fmla="*/ 2400240 h 2574000"/>
              <a:gd name="connsiteX194" fmla="*/ 664037 w 4572000"/>
              <a:gd name="connsiteY194" fmla="*/ 2411169 h 2574000"/>
              <a:gd name="connsiteX195" fmla="*/ 664037 w 4572000"/>
              <a:gd name="connsiteY195" fmla="*/ 2433233 h 2574000"/>
              <a:gd name="connsiteX196" fmla="*/ 666286 w 4572000"/>
              <a:gd name="connsiteY196" fmla="*/ 2435475 h 2574000"/>
              <a:gd name="connsiteX197" fmla="*/ 668535 w 4572000"/>
              <a:gd name="connsiteY197" fmla="*/ 2433233 h 2574000"/>
              <a:gd name="connsiteX198" fmla="*/ 668535 w 4572000"/>
              <a:gd name="connsiteY198" fmla="*/ 2411169 h 2574000"/>
              <a:gd name="connsiteX199" fmla="*/ 679494 w 4572000"/>
              <a:gd name="connsiteY199" fmla="*/ 2400240 h 2574000"/>
              <a:gd name="connsiteX200" fmla="*/ 690453 w 4572000"/>
              <a:gd name="connsiteY200" fmla="*/ 2411169 h 2574000"/>
              <a:gd name="connsiteX201" fmla="*/ 690453 w 4572000"/>
              <a:gd name="connsiteY201" fmla="*/ 2433233 h 2574000"/>
              <a:gd name="connsiteX202" fmla="*/ 692718 w 4572000"/>
              <a:gd name="connsiteY202" fmla="*/ 2435475 h 2574000"/>
              <a:gd name="connsiteX203" fmla="*/ 694951 w 4572000"/>
              <a:gd name="connsiteY203" fmla="*/ 2433233 h 2574000"/>
              <a:gd name="connsiteX204" fmla="*/ 694951 w 4572000"/>
              <a:gd name="connsiteY204" fmla="*/ 2411169 h 2574000"/>
              <a:gd name="connsiteX205" fmla="*/ 679494 w 4572000"/>
              <a:gd name="connsiteY205" fmla="*/ 2395739 h 2574000"/>
              <a:gd name="connsiteX206" fmla="*/ 666286 w 4572000"/>
              <a:gd name="connsiteY206" fmla="*/ 2403193 h 2574000"/>
              <a:gd name="connsiteX207" fmla="*/ 653078 w 4572000"/>
              <a:gd name="connsiteY207" fmla="*/ 2395739 h 2574000"/>
              <a:gd name="connsiteX208" fmla="*/ 923812 w 4572000"/>
              <a:gd name="connsiteY208" fmla="*/ 2383720 h 2574000"/>
              <a:gd name="connsiteX209" fmla="*/ 923812 w 4572000"/>
              <a:gd name="connsiteY209" fmla="*/ 2385963 h 2574000"/>
              <a:gd name="connsiteX210" fmla="*/ 926061 w 4572000"/>
              <a:gd name="connsiteY210" fmla="*/ 2388205 h 2574000"/>
              <a:gd name="connsiteX211" fmla="*/ 928294 w 4572000"/>
              <a:gd name="connsiteY211" fmla="*/ 2385963 h 2574000"/>
              <a:gd name="connsiteX212" fmla="*/ 926061 w 4572000"/>
              <a:gd name="connsiteY212" fmla="*/ 2383720 h 2574000"/>
              <a:gd name="connsiteX213" fmla="*/ 537483 w 4572000"/>
              <a:gd name="connsiteY213" fmla="*/ 2383720 h 2574000"/>
              <a:gd name="connsiteX214" fmla="*/ 537483 w 4572000"/>
              <a:gd name="connsiteY214" fmla="*/ 2385963 h 2574000"/>
              <a:gd name="connsiteX215" fmla="*/ 539732 w 4572000"/>
              <a:gd name="connsiteY215" fmla="*/ 2388205 h 2574000"/>
              <a:gd name="connsiteX216" fmla="*/ 541981 w 4572000"/>
              <a:gd name="connsiteY216" fmla="*/ 2385963 h 2574000"/>
              <a:gd name="connsiteX217" fmla="*/ 539732 w 4572000"/>
              <a:gd name="connsiteY217" fmla="*/ 2383720 h 2574000"/>
              <a:gd name="connsiteX218" fmla="*/ 369737 w 4572000"/>
              <a:gd name="connsiteY218" fmla="*/ 2383720 h 2574000"/>
              <a:gd name="connsiteX219" fmla="*/ 369737 w 4572000"/>
              <a:gd name="connsiteY219" fmla="*/ 2385963 h 2574000"/>
              <a:gd name="connsiteX220" fmla="*/ 371986 w 4572000"/>
              <a:gd name="connsiteY220" fmla="*/ 2388205 h 2574000"/>
              <a:gd name="connsiteX221" fmla="*/ 374235 w 4572000"/>
              <a:gd name="connsiteY221" fmla="*/ 2385963 h 2574000"/>
              <a:gd name="connsiteX222" fmla="*/ 371986 w 4572000"/>
              <a:gd name="connsiteY222" fmla="*/ 2383720 h 2574000"/>
              <a:gd name="connsiteX223" fmla="*/ 307228 w 4572000"/>
              <a:gd name="connsiteY223" fmla="*/ 2383720 h 2574000"/>
              <a:gd name="connsiteX224" fmla="*/ 307228 w 4572000"/>
              <a:gd name="connsiteY224" fmla="*/ 2385963 h 2574000"/>
              <a:gd name="connsiteX225" fmla="*/ 309477 w 4572000"/>
              <a:gd name="connsiteY225" fmla="*/ 2388205 h 2574000"/>
              <a:gd name="connsiteX226" fmla="*/ 311710 w 4572000"/>
              <a:gd name="connsiteY226" fmla="*/ 2385963 h 2574000"/>
              <a:gd name="connsiteX227" fmla="*/ 309477 w 4572000"/>
              <a:gd name="connsiteY227" fmla="*/ 2383720 h 2574000"/>
              <a:gd name="connsiteX228" fmla="*/ 912710 w 4572000"/>
              <a:gd name="connsiteY228" fmla="*/ 2378966 h 2574000"/>
              <a:gd name="connsiteX229" fmla="*/ 910461 w 4572000"/>
              <a:gd name="connsiteY229" fmla="*/ 2381209 h 2574000"/>
              <a:gd name="connsiteX230" fmla="*/ 910461 w 4572000"/>
              <a:gd name="connsiteY230" fmla="*/ 2403067 h 2574000"/>
              <a:gd name="connsiteX231" fmla="*/ 895036 w 4572000"/>
              <a:gd name="connsiteY231" fmla="*/ 2395770 h 2574000"/>
              <a:gd name="connsiteX232" fmla="*/ 875129 w 4572000"/>
              <a:gd name="connsiteY232" fmla="*/ 2415623 h 2574000"/>
              <a:gd name="connsiteX233" fmla="*/ 895036 w 4572000"/>
              <a:gd name="connsiteY233" fmla="*/ 2435475 h 2574000"/>
              <a:gd name="connsiteX234" fmla="*/ 914959 w 4572000"/>
              <a:gd name="connsiteY234" fmla="*/ 2435475 h 2574000"/>
              <a:gd name="connsiteX235" fmla="*/ 914959 w 4572000"/>
              <a:gd name="connsiteY235" fmla="*/ 2381209 h 2574000"/>
              <a:gd name="connsiteX236" fmla="*/ 912710 w 4572000"/>
              <a:gd name="connsiteY236" fmla="*/ 2378966 h 2574000"/>
              <a:gd name="connsiteX237" fmla="*/ 457696 w 4572000"/>
              <a:gd name="connsiteY237" fmla="*/ 2378966 h 2574000"/>
              <a:gd name="connsiteX238" fmla="*/ 455447 w 4572000"/>
              <a:gd name="connsiteY238" fmla="*/ 2381209 h 2574000"/>
              <a:gd name="connsiteX239" fmla="*/ 455447 w 4572000"/>
              <a:gd name="connsiteY239" fmla="*/ 2429805 h 2574000"/>
              <a:gd name="connsiteX240" fmla="*/ 461132 w 4572000"/>
              <a:gd name="connsiteY240" fmla="*/ 2435475 h 2574000"/>
              <a:gd name="connsiteX241" fmla="*/ 463381 w 4572000"/>
              <a:gd name="connsiteY241" fmla="*/ 2433232 h 2574000"/>
              <a:gd name="connsiteX242" fmla="*/ 461132 w 4572000"/>
              <a:gd name="connsiteY242" fmla="*/ 2430990 h 2574000"/>
              <a:gd name="connsiteX243" fmla="*/ 459945 w 4572000"/>
              <a:gd name="connsiteY243" fmla="*/ 2429805 h 2574000"/>
              <a:gd name="connsiteX244" fmla="*/ 459945 w 4572000"/>
              <a:gd name="connsiteY244" fmla="*/ 2381209 h 2574000"/>
              <a:gd name="connsiteX245" fmla="*/ 457696 w 4572000"/>
              <a:gd name="connsiteY245" fmla="*/ 2378966 h 2574000"/>
              <a:gd name="connsiteX246" fmla="*/ 391624 w 4572000"/>
              <a:gd name="connsiteY246" fmla="*/ 2378951 h 2574000"/>
              <a:gd name="connsiteX247" fmla="*/ 389375 w 4572000"/>
              <a:gd name="connsiteY247" fmla="*/ 2381194 h 2574000"/>
              <a:gd name="connsiteX248" fmla="*/ 389375 w 4572000"/>
              <a:gd name="connsiteY248" fmla="*/ 2395755 h 2574000"/>
              <a:gd name="connsiteX249" fmla="*/ 385606 w 4572000"/>
              <a:gd name="connsiteY249" fmla="*/ 2395755 h 2574000"/>
              <a:gd name="connsiteX250" fmla="*/ 383358 w 4572000"/>
              <a:gd name="connsiteY250" fmla="*/ 2397998 h 2574000"/>
              <a:gd name="connsiteX251" fmla="*/ 385606 w 4572000"/>
              <a:gd name="connsiteY251" fmla="*/ 2400241 h 2574000"/>
              <a:gd name="connsiteX252" fmla="*/ 389375 w 4572000"/>
              <a:gd name="connsiteY252" fmla="*/ 2400241 h 2574000"/>
              <a:gd name="connsiteX253" fmla="*/ 389375 w 4572000"/>
              <a:gd name="connsiteY253" fmla="*/ 2423552 h 2574000"/>
              <a:gd name="connsiteX254" fmla="*/ 401316 w 4572000"/>
              <a:gd name="connsiteY254" fmla="*/ 2435460 h 2574000"/>
              <a:gd name="connsiteX255" fmla="*/ 403977 w 4572000"/>
              <a:gd name="connsiteY255" fmla="*/ 2435160 h 2574000"/>
              <a:gd name="connsiteX256" fmla="*/ 405664 w 4572000"/>
              <a:gd name="connsiteY256" fmla="*/ 2432487 h 2574000"/>
              <a:gd name="connsiteX257" fmla="*/ 405672 w 4572000"/>
              <a:gd name="connsiteY257" fmla="*/ 2432491 h 2574000"/>
              <a:gd name="connsiteX258" fmla="*/ 405672 w 4572000"/>
              <a:gd name="connsiteY258" fmla="*/ 2432475 h 2574000"/>
              <a:gd name="connsiteX259" fmla="*/ 405664 w 4572000"/>
              <a:gd name="connsiteY259" fmla="*/ 2432487 h 2574000"/>
              <a:gd name="connsiteX260" fmla="*/ 402979 w 4572000"/>
              <a:gd name="connsiteY260" fmla="*/ 2430801 h 2574000"/>
              <a:gd name="connsiteX261" fmla="*/ 401316 w 4572000"/>
              <a:gd name="connsiteY261" fmla="*/ 2430990 h 2574000"/>
              <a:gd name="connsiteX262" fmla="*/ 393873 w 4572000"/>
              <a:gd name="connsiteY262" fmla="*/ 2423552 h 2574000"/>
              <a:gd name="connsiteX263" fmla="*/ 393873 w 4572000"/>
              <a:gd name="connsiteY263" fmla="*/ 2400241 h 2574000"/>
              <a:gd name="connsiteX264" fmla="*/ 400208 w 4572000"/>
              <a:gd name="connsiteY264" fmla="*/ 2400241 h 2574000"/>
              <a:gd name="connsiteX265" fmla="*/ 402456 w 4572000"/>
              <a:gd name="connsiteY265" fmla="*/ 2397998 h 2574000"/>
              <a:gd name="connsiteX266" fmla="*/ 400208 w 4572000"/>
              <a:gd name="connsiteY266" fmla="*/ 2395755 h 2574000"/>
              <a:gd name="connsiteX267" fmla="*/ 393873 w 4572000"/>
              <a:gd name="connsiteY267" fmla="*/ 2395755 h 2574000"/>
              <a:gd name="connsiteX268" fmla="*/ 393873 w 4572000"/>
              <a:gd name="connsiteY268" fmla="*/ 2381194 h 2574000"/>
              <a:gd name="connsiteX269" fmla="*/ 391624 w 4572000"/>
              <a:gd name="connsiteY269" fmla="*/ 2378951 h 2574000"/>
              <a:gd name="connsiteX270" fmla="*/ 296175 w 4572000"/>
              <a:gd name="connsiteY270" fmla="*/ 2378951 h 2574000"/>
              <a:gd name="connsiteX271" fmla="*/ 293926 w 4572000"/>
              <a:gd name="connsiteY271" fmla="*/ 2381194 h 2574000"/>
              <a:gd name="connsiteX272" fmla="*/ 293926 w 4572000"/>
              <a:gd name="connsiteY272" fmla="*/ 2403052 h 2574000"/>
              <a:gd name="connsiteX273" fmla="*/ 278516 w 4572000"/>
              <a:gd name="connsiteY273" fmla="*/ 2395755 h 2574000"/>
              <a:gd name="connsiteX274" fmla="*/ 258609 w 4572000"/>
              <a:gd name="connsiteY274" fmla="*/ 2415608 h 2574000"/>
              <a:gd name="connsiteX275" fmla="*/ 278516 w 4572000"/>
              <a:gd name="connsiteY275" fmla="*/ 2435476 h 2574000"/>
              <a:gd name="connsiteX276" fmla="*/ 298423 w 4572000"/>
              <a:gd name="connsiteY276" fmla="*/ 2435476 h 2574000"/>
              <a:gd name="connsiteX277" fmla="*/ 298423 w 4572000"/>
              <a:gd name="connsiteY277" fmla="*/ 2435460 h 2574000"/>
              <a:gd name="connsiteX278" fmla="*/ 298423 w 4572000"/>
              <a:gd name="connsiteY278" fmla="*/ 2381194 h 2574000"/>
              <a:gd name="connsiteX279" fmla="*/ 296175 w 4572000"/>
              <a:gd name="connsiteY279" fmla="*/ 2378951 h 2574000"/>
              <a:gd name="connsiteX280" fmla="*/ 533786 w 4572000"/>
              <a:gd name="connsiteY280" fmla="*/ 2274080 h 2574000"/>
              <a:gd name="connsiteX281" fmla="*/ 533794 w 4572000"/>
              <a:gd name="connsiteY281" fmla="*/ 2274099 h 2574000"/>
              <a:gd name="connsiteX282" fmla="*/ 533786 w 4572000"/>
              <a:gd name="connsiteY282" fmla="*/ 2274119 h 2574000"/>
              <a:gd name="connsiteX283" fmla="*/ 533778 w 4572000"/>
              <a:gd name="connsiteY283" fmla="*/ 2274099 h 2574000"/>
              <a:gd name="connsiteX284" fmla="*/ 258609 w 4572000"/>
              <a:gd name="connsiteY284" fmla="*/ 2204197 h 2574000"/>
              <a:gd name="connsiteX285" fmla="*/ 258609 w 4572000"/>
              <a:gd name="connsiteY285" fmla="*/ 2274099 h 2574000"/>
              <a:gd name="connsiteX286" fmla="*/ 327405 w 4572000"/>
              <a:gd name="connsiteY286" fmla="*/ 2344016 h 2574000"/>
              <a:gd name="connsiteX287" fmla="*/ 396201 w 4572000"/>
              <a:gd name="connsiteY287" fmla="*/ 2274099 h 2574000"/>
              <a:gd name="connsiteX288" fmla="*/ 464997 w 4572000"/>
              <a:gd name="connsiteY288" fmla="*/ 2344016 h 2574000"/>
              <a:gd name="connsiteX289" fmla="*/ 513643 w 4572000"/>
              <a:gd name="connsiteY289" fmla="*/ 2323544 h 2574000"/>
              <a:gd name="connsiteX290" fmla="*/ 533786 w 4572000"/>
              <a:gd name="connsiteY290" fmla="*/ 2274119 h 2574000"/>
              <a:gd name="connsiteX291" fmla="*/ 553923 w 4572000"/>
              <a:gd name="connsiteY291" fmla="*/ 2323538 h 2574000"/>
              <a:gd name="connsiteX292" fmla="*/ 602574 w 4572000"/>
              <a:gd name="connsiteY292" fmla="*/ 2344016 h 2574000"/>
              <a:gd name="connsiteX293" fmla="*/ 636972 w 4572000"/>
              <a:gd name="connsiteY293" fmla="*/ 2334651 h 2574000"/>
              <a:gd name="connsiteX294" fmla="*/ 671370 w 4572000"/>
              <a:gd name="connsiteY294" fmla="*/ 2344016 h 2574000"/>
              <a:gd name="connsiteX295" fmla="*/ 740166 w 4572000"/>
              <a:gd name="connsiteY295" fmla="*/ 2274099 h 2574000"/>
              <a:gd name="connsiteX296" fmla="*/ 671386 w 4572000"/>
              <a:gd name="connsiteY296" fmla="*/ 2204197 h 2574000"/>
              <a:gd name="connsiteX297" fmla="*/ 636989 w 4572000"/>
              <a:gd name="connsiteY297" fmla="*/ 2213547 h 2574000"/>
              <a:gd name="connsiteX298" fmla="*/ 636972 w 4572000"/>
              <a:gd name="connsiteY298" fmla="*/ 2213547 h 2574000"/>
              <a:gd name="connsiteX299" fmla="*/ 602574 w 4572000"/>
              <a:gd name="connsiteY299" fmla="*/ 2204197 h 2574000"/>
              <a:gd name="connsiteX300" fmla="*/ 553923 w 4572000"/>
              <a:gd name="connsiteY300" fmla="*/ 2224667 h 2574000"/>
              <a:gd name="connsiteX301" fmla="*/ 533786 w 4572000"/>
              <a:gd name="connsiteY301" fmla="*/ 2274080 h 2574000"/>
              <a:gd name="connsiteX302" fmla="*/ 513637 w 4572000"/>
              <a:gd name="connsiteY302" fmla="*/ 2224662 h 2574000"/>
              <a:gd name="connsiteX303" fmla="*/ 464997 w 4572000"/>
              <a:gd name="connsiteY303" fmla="*/ 2204197 h 2574000"/>
              <a:gd name="connsiteX304" fmla="*/ 396201 w 4572000"/>
              <a:gd name="connsiteY304" fmla="*/ 2274099 h 2574000"/>
              <a:gd name="connsiteX305" fmla="*/ 327405 w 4572000"/>
              <a:gd name="connsiteY305" fmla="*/ 2204197 h 2574000"/>
              <a:gd name="connsiteX306" fmla="*/ 0 w 4572000"/>
              <a:gd name="connsiteY306" fmla="*/ 0 h 2574000"/>
              <a:gd name="connsiteX307" fmla="*/ 4572000 w 4572000"/>
              <a:gd name="connsiteY307" fmla="*/ 0 h 2574000"/>
              <a:gd name="connsiteX308" fmla="*/ 4572000 w 4572000"/>
              <a:gd name="connsiteY308" fmla="*/ 2574000 h 2574000"/>
              <a:gd name="connsiteX309" fmla="*/ 0 w 4572000"/>
              <a:gd name="connsiteY309" fmla="*/ 2574000 h 25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572000" h="2574000">
                <a:moveTo>
                  <a:pt x="956975" y="2400241"/>
                </a:moveTo>
                <a:cubicBezTo>
                  <a:pt x="965480" y="2400241"/>
                  <a:pt x="972400" y="2407142"/>
                  <a:pt x="972400" y="2415608"/>
                </a:cubicBezTo>
                <a:lnTo>
                  <a:pt x="972400" y="2430990"/>
                </a:lnTo>
                <a:lnTo>
                  <a:pt x="956975" y="2430990"/>
                </a:lnTo>
                <a:cubicBezTo>
                  <a:pt x="948486" y="2430990"/>
                  <a:pt x="941566" y="2424073"/>
                  <a:pt x="941566" y="2415608"/>
                </a:cubicBezTo>
                <a:cubicBezTo>
                  <a:pt x="941566" y="2407142"/>
                  <a:pt x="948471" y="2400241"/>
                  <a:pt x="956975" y="2400241"/>
                </a:cubicBezTo>
                <a:close/>
                <a:moveTo>
                  <a:pt x="849077" y="2400241"/>
                </a:moveTo>
                <a:cubicBezTo>
                  <a:pt x="856806" y="2400241"/>
                  <a:pt x="863236" y="2405958"/>
                  <a:pt x="864328" y="2413365"/>
                </a:cubicBezTo>
                <a:lnTo>
                  <a:pt x="833826" y="2413365"/>
                </a:lnTo>
                <a:cubicBezTo>
                  <a:pt x="834919" y="2405958"/>
                  <a:pt x="841349" y="2400241"/>
                  <a:pt x="849077" y="2400241"/>
                </a:cubicBezTo>
                <a:close/>
                <a:moveTo>
                  <a:pt x="720496" y="2400241"/>
                </a:moveTo>
                <a:cubicBezTo>
                  <a:pt x="729001" y="2400241"/>
                  <a:pt x="735922" y="2407142"/>
                  <a:pt x="735922" y="2415608"/>
                </a:cubicBezTo>
                <a:lnTo>
                  <a:pt x="735922" y="2430990"/>
                </a:lnTo>
                <a:lnTo>
                  <a:pt x="720496" y="2430990"/>
                </a:lnTo>
                <a:cubicBezTo>
                  <a:pt x="712008" y="2430990"/>
                  <a:pt x="705087" y="2424073"/>
                  <a:pt x="705087" y="2415608"/>
                </a:cubicBezTo>
                <a:cubicBezTo>
                  <a:pt x="705087" y="2407142"/>
                  <a:pt x="712008" y="2400241"/>
                  <a:pt x="720496" y="2400241"/>
                </a:cubicBezTo>
                <a:close/>
                <a:moveTo>
                  <a:pt x="612646" y="2400241"/>
                </a:moveTo>
                <a:cubicBezTo>
                  <a:pt x="620375" y="2400241"/>
                  <a:pt x="626805" y="2405958"/>
                  <a:pt x="627897" y="2413365"/>
                </a:cubicBezTo>
                <a:lnTo>
                  <a:pt x="597395" y="2413365"/>
                </a:lnTo>
                <a:cubicBezTo>
                  <a:pt x="598472" y="2405958"/>
                  <a:pt x="604918" y="2400241"/>
                  <a:pt x="612646" y="2400241"/>
                </a:cubicBezTo>
                <a:close/>
                <a:moveTo>
                  <a:pt x="429632" y="2400241"/>
                </a:moveTo>
                <a:cubicBezTo>
                  <a:pt x="438137" y="2400241"/>
                  <a:pt x="445042" y="2407142"/>
                  <a:pt x="445042" y="2415608"/>
                </a:cubicBezTo>
                <a:lnTo>
                  <a:pt x="445042" y="2430990"/>
                </a:lnTo>
                <a:lnTo>
                  <a:pt x="429632" y="2430990"/>
                </a:lnTo>
                <a:cubicBezTo>
                  <a:pt x="421128" y="2430990"/>
                  <a:pt x="414223" y="2424073"/>
                  <a:pt x="414223" y="2415608"/>
                </a:cubicBezTo>
                <a:cubicBezTo>
                  <a:pt x="414223" y="2407142"/>
                  <a:pt x="421128" y="2400241"/>
                  <a:pt x="429632" y="2400241"/>
                </a:cubicBezTo>
                <a:close/>
                <a:moveTo>
                  <a:pt x="278516" y="2400241"/>
                </a:moveTo>
                <a:cubicBezTo>
                  <a:pt x="287005" y="2400241"/>
                  <a:pt x="293926" y="2407142"/>
                  <a:pt x="293926" y="2415608"/>
                </a:cubicBezTo>
                <a:lnTo>
                  <a:pt x="293926" y="2430990"/>
                </a:lnTo>
                <a:lnTo>
                  <a:pt x="278516" y="2430990"/>
                </a:lnTo>
                <a:cubicBezTo>
                  <a:pt x="270029" y="2430990"/>
                  <a:pt x="263108" y="2424073"/>
                  <a:pt x="263108" y="2415608"/>
                </a:cubicBezTo>
                <a:cubicBezTo>
                  <a:pt x="263108" y="2407142"/>
                  <a:pt x="270029" y="2400241"/>
                  <a:pt x="278516" y="2400241"/>
                </a:cubicBezTo>
                <a:close/>
                <a:moveTo>
                  <a:pt x="895052" y="2400240"/>
                </a:moveTo>
                <a:cubicBezTo>
                  <a:pt x="903556" y="2400240"/>
                  <a:pt x="910477" y="2407141"/>
                  <a:pt x="910477" y="2415607"/>
                </a:cubicBezTo>
                <a:lnTo>
                  <a:pt x="910477" y="2430990"/>
                </a:lnTo>
                <a:lnTo>
                  <a:pt x="895052" y="2430990"/>
                </a:lnTo>
                <a:cubicBezTo>
                  <a:pt x="886563" y="2430990"/>
                  <a:pt x="879643" y="2424072"/>
                  <a:pt x="879643" y="2415607"/>
                </a:cubicBezTo>
                <a:cubicBezTo>
                  <a:pt x="879643" y="2407141"/>
                  <a:pt x="886563" y="2400240"/>
                  <a:pt x="895052" y="2400240"/>
                </a:cubicBezTo>
                <a:close/>
                <a:moveTo>
                  <a:pt x="340882" y="2400240"/>
                </a:moveTo>
                <a:cubicBezTo>
                  <a:pt x="349371" y="2400240"/>
                  <a:pt x="356292" y="2407126"/>
                  <a:pt x="356292" y="2415607"/>
                </a:cubicBezTo>
                <a:cubicBezTo>
                  <a:pt x="356292" y="2424088"/>
                  <a:pt x="349371" y="2430990"/>
                  <a:pt x="340882" y="2430990"/>
                </a:cubicBezTo>
                <a:cubicBezTo>
                  <a:pt x="332394" y="2430990"/>
                  <a:pt x="325473" y="2424088"/>
                  <a:pt x="325473" y="2415607"/>
                </a:cubicBezTo>
                <a:cubicBezTo>
                  <a:pt x="325473" y="2407126"/>
                  <a:pt x="332394" y="2400240"/>
                  <a:pt x="340882" y="2400240"/>
                </a:cubicBezTo>
                <a:close/>
                <a:moveTo>
                  <a:pt x="550105" y="2395786"/>
                </a:moveTo>
                <a:lnTo>
                  <a:pt x="550105" y="2433232"/>
                </a:lnTo>
                <a:cubicBezTo>
                  <a:pt x="550105" y="2434464"/>
                  <a:pt x="551119" y="2435475"/>
                  <a:pt x="552354" y="2435475"/>
                </a:cubicBezTo>
                <a:cubicBezTo>
                  <a:pt x="553589" y="2435475"/>
                  <a:pt x="554603" y="2434464"/>
                  <a:pt x="554603" y="2433232"/>
                </a:cubicBezTo>
                <a:lnTo>
                  <a:pt x="554603" y="2419066"/>
                </a:lnTo>
                <a:lnTo>
                  <a:pt x="554603" y="2413980"/>
                </a:lnTo>
                <a:cubicBezTo>
                  <a:pt x="554603" y="2406415"/>
                  <a:pt x="560779" y="2400271"/>
                  <a:pt x="568365" y="2400271"/>
                </a:cubicBezTo>
                <a:cubicBezTo>
                  <a:pt x="575951" y="2400271"/>
                  <a:pt x="582128" y="2406431"/>
                  <a:pt x="582128" y="2413996"/>
                </a:cubicBezTo>
                <a:lnTo>
                  <a:pt x="582128" y="2433232"/>
                </a:lnTo>
                <a:cubicBezTo>
                  <a:pt x="582128" y="2434464"/>
                  <a:pt x="583141" y="2435475"/>
                  <a:pt x="584376" y="2435475"/>
                </a:cubicBezTo>
                <a:cubicBezTo>
                  <a:pt x="585612" y="2435475"/>
                  <a:pt x="586625" y="2434464"/>
                  <a:pt x="586625" y="2433232"/>
                </a:cubicBezTo>
                <a:lnTo>
                  <a:pt x="586625" y="2413996"/>
                </a:lnTo>
                <a:cubicBezTo>
                  <a:pt x="586625" y="2403951"/>
                  <a:pt x="578437" y="2395786"/>
                  <a:pt x="568381" y="2395786"/>
                </a:cubicBezTo>
                <a:lnTo>
                  <a:pt x="568365" y="2395786"/>
                </a:lnTo>
                <a:cubicBezTo>
                  <a:pt x="562870" y="2395786"/>
                  <a:pt x="557960" y="2398218"/>
                  <a:pt x="554603" y="2402040"/>
                </a:cubicBezTo>
                <a:lnTo>
                  <a:pt x="554603" y="2398029"/>
                </a:lnTo>
                <a:cubicBezTo>
                  <a:pt x="554603" y="2396781"/>
                  <a:pt x="553605" y="2395786"/>
                  <a:pt x="552354" y="2395786"/>
                </a:cubicBezTo>
                <a:close/>
                <a:moveTo>
                  <a:pt x="956975" y="2395771"/>
                </a:moveTo>
                <a:cubicBezTo>
                  <a:pt x="946000" y="2395771"/>
                  <a:pt x="937068" y="2404678"/>
                  <a:pt x="937068" y="2415623"/>
                </a:cubicBezTo>
                <a:cubicBezTo>
                  <a:pt x="937068" y="2426568"/>
                  <a:pt x="946000" y="2435476"/>
                  <a:pt x="956975" y="2435476"/>
                </a:cubicBezTo>
                <a:lnTo>
                  <a:pt x="976882" y="2435476"/>
                </a:lnTo>
                <a:lnTo>
                  <a:pt x="976882" y="2415623"/>
                </a:lnTo>
                <a:cubicBezTo>
                  <a:pt x="976882" y="2404678"/>
                  <a:pt x="967950" y="2395771"/>
                  <a:pt x="956975" y="2395771"/>
                </a:cubicBezTo>
                <a:close/>
                <a:moveTo>
                  <a:pt x="849077" y="2395771"/>
                </a:moveTo>
                <a:cubicBezTo>
                  <a:pt x="838102" y="2395771"/>
                  <a:pt x="829170" y="2404678"/>
                  <a:pt x="829170" y="2415623"/>
                </a:cubicBezTo>
                <a:cubicBezTo>
                  <a:pt x="829170" y="2426568"/>
                  <a:pt x="838102" y="2435476"/>
                  <a:pt x="849077" y="2435476"/>
                </a:cubicBezTo>
                <a:cubicBezTo>
                  <a:pt x="853527" y="2435476"/>
                  <a:pt x="857756" y="2434038"/>
                  <a:pt x="861272" y="2431322"/>
                </a:cubicBezTo>
                <a:cubicBezTo>
                  <a:pt x="862254" y="2430564"/>
                  <a:pt x="862428" y="2429158"/>
                  <a:pt x="861668" y="2428179"/>
                </a:cubicBezTo>
                <a:cubicBezTo>
                  <a:pt x="860907" y="2427200"/>
                  <a:pt x="859498" y="2427042"/>
                  <a:pt x="858516" y="2427784"/>
                </a:cubicBezTo>
                <a:cubicBezTo>
                  <a:pt x="855792" y="2429885"/>
                  <a:pt x="852530" y="2431006"/>
                  <a:pt x="849077" y="2431006"/>
                </a:cubicBezTo>
                <a:cubicBezTo>
                  <a:pt x="841349" y="2431006"/>
                  <a:pt x="834919" y="2425289"/>
                  <a:pt x="833826" y="2417866"/>
                </a:cubicBezTo>
                <a:lnTo>
                  <a:pt x="866735" y="2417866"/>
                </a:lnTo>
                <a:cubicBezTo>
                  <a:pt x="867971" y="2417866"/>
                  <a:pt x="868984" y="2416871"/>
                  <a:pt x="868984" y="2415623"/>
                </a:cubicBezTo>
                <a:cubicBezTo>
                  <a:pt x="868984" y="2404678"/>
                  <a:pt x="860052" y="2395771"/>
                  <a:pt x="849077" y="2395771"/>
                </a:cubicBezTo>
                <a:close/>
                <a:moveTo>
                  <a:pt x="720496" y="2395771"/>
                </a:moveTo>
                <a:cubicBezTo>
                  <a:pt x="709522" y="2395771"/>
                  <a:pt x="700590" y="2404678"/>
                  <a:pt x="700590" y="2415623"/>
                </a:cubicBezTo>
                <a:cubicBezTo>
                  <a:pt x="700590" y="2426568"/>
                  <a:pt x="709522" y="2435476"/>
                  <a:pt x="720496" y="2435476"/>
                </a:cubicBezTo>
                <a:lnTo>
                  <a:pt x="740419" y="2435476"/>
                </a:lnTo>
                <a:lnTo>
                  <a:pt x="740419" y="2415623"/>
                </a:lnTo>
                <a:cubicBezTo>
                  <a:pt x="740419" y="2404678"/>
                  <a:pt x="731471" y="2395771"/>
                  <a:pt x="720496" y="2395771"/>
                </a:cubicBezTo>
                <a:close/>
                <a:moveTo>
                  <a:pt x="612646" y="2395771"/>
                </a:moveTo>
                <a:cubicBezTo>
                  <a:pt x="601672" y="2395771"/>
                  <a:pt x="592740" y="2404678"/>
                  <a:pt x="592740" y="2415623"/>
                </a:cubicBezTo>
                <a:cubicBezTo>
                  <a:pt x="592740" y="2426568"/>
                  <a:pt x="601672" y="2435476"/>
                  <a:pt x="612646" y="2435476"/>
                </a:cubicBezTo>
                <a:cubicBezTo>
                  <a:pt x="617112" y="2435476"/>
                  <a:pt x="621325" y="2434038"/>
                  <a:pt x="624841" y="2431322"/>
                </a:cubicBezTo>
                <a:cubicBezTo>
                  <a:pt x="625823" y="2430564"/>
                  <a:pt x="625997" y="2429158"/>
                  <a:pt x="625237" y="2428179"/>
                </a:cubicBezTo>
                <a:cubicBezTo>
                  <a:pt x="624477" y="2427200"/>
                  <a:pt x="623067" y="2427042"/>
                  <a:pt x="622085" y="2427784"/>
                </a:cubicBezTo>
                <a:cubicBezTo>
                  <a:pt x="619361" y="2429885"/>
                  <a:pt x="616099" y="2431006"/>
                  <a:pt x="612646" y="2431006"/>
                </a:cubicBezTo>
                <a:cubicBezTo>
                  <a:pt x="604902" y="2431006"/>
                  <a:pt x="598472" y="2425289"/>
                  <a:pt x="597395" y="2417866"/>
                </a:cubicBezTo>
                <a:lnTo>
                  <a:pt x="630304" y="2417866"/>
                </a:lnTo>
                <a:cubicBezTo>
                  <a:pt x="631541" y="2417866"/>
                  <a:pt x="632554" y="2416871"/>
                  <a:pt x="632554" y="2415623"/>
                </a:cubicBezTo>
                <a:cubicBezTo>
                  <a:pt x="632554" y="2404678"/>
                  <a:pt x="623621" y="2395771"/>
                  <a:pt x="612646" y="2395771"/>
                </a:cubicBezTo>
                <a:close/>
                <a:moveTo>
                  <a:pt x="513331" y="2395771"/>
                </a:moveTo>
                <a:cubicBezTo>
                  <a:pt x="502356" y="2395771"/>
                  <a:pt x="493424" y="2404678"/>
                  <a:pt x="493424" y="2415623"/>
                </a:cubicBezTo>
                <a:cubicBezTo>
                  <a:pt x="493424" y="2426568"/>
                  <a:pt x="502356" y="2435476"/>
                  <a:pt x="513331" y="2435476"/>
                </a:cubicBezTo>
                <a:cubicBezTo>
                  <a:pt x="517940" y="2435476"/>
                  <a:pt x="522437" y="2433865"/>
                  <a:pt x="526001" y="2430927"/>
                </a:cubicBezTo>
                <a:cubicBezTo>
                  <a:pt x="526951" y="2430137"/>
                  <a:pt x="527094" y="2428732"/>
                  <a:pt x="526302" y="2427768"/>
                </a:cubicBezTo>
                <a:cubicBezTo>
                  <a:pt x="525510" y="2426821"/>
                  <a:pt x="524101" y="2426695"/>
                  <a:pt x="523134" y="2427468"/>
                </a:cubicBezTo>
                <a:cubicBezTo>
                  <a:pt x="520394" y="2429743"/>
                  <a:pt x="516894" y="2430990"/>
                  <a:pt x="513331" y="2430990"/>
                </a:cubicBezTo>
                <a:cubicBezTo>
                  <a:pt x="504827" y="2430990"/>
                  <a:pt x="497906" y="2424073"/>
                  <a:pt x="497906" y="2415608"/>
                </a:cubicBezTo>
                <a:cubicBezTo>
                  <a:pt x="497906" y="2407142"/>
                  <a:pt x="504827" y="2400241"/>
                  <a:pt x="513331" y="2400241"/>
                </a:cubicBezTo>
                <a:cubicBezTo>
                  <a:pt x="516894" y="2400241"/>
                  <a:pt x="520379" y="2401488"/>
                  <a:pt x="523134" y="2403762"/>
                </a:cubicBezTo>
                <a:cubicBezTo>
                  <a:pt x="524101" y="2404552"/>
                  <a:pt x="525510" y="2404426"/>
                  <a:pt x="526302" y="2403462"/>
                </a:cubicBezTo>
                <a:cubicBezTo>
                  <a:pt x="527094" y="2402499"/>
                  <a:pt x="526967" y="2401093"/>
                  <a:pt x="526001" y="2400304"/>
                </a:cubicBezTo>
                <a:cubicBezTo>
                  <a:pt x="522454" y="2397382"/>
                  <a:pt x="517940" y="2395771"/>
                  <a:pt x="513331" y="2395771"/>
                </a:cubicBezTo>
                <a:close/>
                <a:moveTo>
                  <a:pt x="429648" y="2395771"/>
                </a:moveTo>
                <a:cubicBezTo>
                  <a:pt x="418689" y="2395771"/>
                  <a:pt x="409741" y="2404678"/>
                  <a:pt x="409741" y="2415623"/>
                </a:cubicBezTo>
                <a:cubicBezTo>
                  <a:pt x="409741" y="2426568"/>
                  <a:pt x="418673" y="2435476"/>
                  <a:pt x="429648" y="2435476"/>
                </a:cubicBezTo>
                <a:lnTo>
                  <a:pt x="449555" y="2435476"/>
                </a:lnTo>
                <a:lnTo>
                  <a:pt x="449555" y="2415623"/>
                </a:lnTo>
                <a:cubicBezTo>
                  <a:pt x="449555" y="2404678"/>
                  <a:pt x="440607" y="2395771"/>
                  <a:pt x="429648" y="2395771"/>
                </a:cubicBezTo>
                <a:close/>
                <a:moveTo>
                  <a:pt x="926061" y="2395755"/>
                </a:moveTo>
                <a:cubicBezTo>
                  <a:pt x="924826" y="2395755"/>
                  <a:pt x="923812" y="2396750"/>
                  <a:pt x="923812" y="2397998"/>
                </a:cubicBezTo>
                <a:lnTo>
                  <a:pt x="923812" y="2433233"/>
                </a:lnTo>
                <a:cubicBezTo>
                  <a:pt x="923812" y="2434465"/>
                  <a:pt x="924826" y="2435475"/>
                  <a:pt x="926061" y="2435475"/>
                </a:cubicBezTo>
                <a:cubicBezTo>
                  <a:pt x="927296" y="2435475"/>
                  <a:pt x="928294" y="2434465"/>
                  <a:pt x="928294" y="2433233"/>
                </a:cubicBezTo>
                <a:lnTo>
                  <a:pt x="928294" y="2397998"/>
                </a:lnTo>
                <a:cubicBezTo>
                  <a:pt x="928294" y="2396750"/>
                  <a:pt x="927296" y="2395755"/>
                  <a:pt x="926061" y="2395755"/>
                </a:cubicBezTo>
                <a:close/>
                <a:moveTo>
                  <a:pt x="539732" y="2395755"/>
                </a:moveTo>
                <a:cubicBezTo>
                  <a:pt x="538497" y="2395755"/>
                  <a:pt x="537483" y="2396750"/>
                  <a:pt x="537483" y="2397998"/>
                </a:cubicBezTo>
                <a:lnTo>
                  <a:pt x="537483" y="2433233"/>
                </a:lnTo>
                <a:cubicBezTo>
                  <a:pt x="537483" y="2434465"/>
                  <a:pt x="538481" y="2435475"/>
                  <a:pt x="539732" y="2435475"/>
                </a:cubicBezTo>
                <a:cubicBezTo>
                  <a:pt x="540983" y="2435475"/>
                  <a:pt x="541981" y="2434465"/>
                  <a:pt x="541981" y="2433233"/>
                </a:cubicBezTo>
                <a:lnTo>
                  <a:pt x="541981" y="2397998"/>
                </a:lnTo>
                <a:cubicBezTo>
                  <a:pt x="541981" y="2396750"/>
                  <a:pt x="540967" y="2395755"/>
                  <a:pt x="539732" y="2395755"/>
                </a:cubicBezTo>
                <a:close/>
                <a:moveTo>
                  <a:pt x="371986" y="2395755"/>
                </a:moveTo>
                <a:cubicBezTo>
                  <a:pt x="370751" y="2395755"/>
                  <a:pt x="369737" y="2396750"/>
                  <a:pt x="369737" y="2397998"/>
                </a:cubicBezTo>
                <a:lnTo>
                  <a:pt x="369737" y="2433233"/>
                </a:lnTo>
                <a:cubicBezTo>
                  <a:pt x="369737" y="2434465"/>
                  <a:pt x="370751" y="2435475"/>
                  <a:pt x="371986" y="2435475"/>
                </a:cubicBezTo>
                <a:cubicBezTo>
                  <a:pt x="373237" y="2435475"/>
                  <a:pt x="374235" y="2434465"/>
                  <a:pt x="374235" y="2433233"/>
                </a:cubicBezTo>
                <a:lnTo>
                  <a:pt x="374235" y="2397998"/>
                </a:lnTo>
                <a:cubicBezTo>
                  <a:pt x="374235" y="2396750"/>
                  <a:pt x="373221" y="2395755"/>
                  <a:pt x="371986" y="2395755"/>
                </a:cubicBezTo>
                <a:close/>
                <a:moveTo>
                  <a:pt x="340882" y="2395755"/>
                </a:moveTo>
                <a:cubicBezTo>
                  <a:pt x="329907" y="2395755"/>
                  <a:pt x="320975" y="2404662"/>
                  <a:pt x="320975" y="2415607"/>
                </a:cubicBezTo>
                <a:cubicBezTo>
                  <a:pt x="320975" y="2426552"/>
                  <a:pt x="329907" y="2435460"/>
                  <a:pt x="340882" y="2435460"/>
                </a:cubicBezTo>
                <a:cubicBezTo>
                  <a:pt x="347074" y="2435460"/>
                  <a:pt x="352633" y="2432617"/>
                  <a:pt x="356292" y="2428163"/>
                </a:cubicBezTo>
                <a:lnTo>
                  <a:pt x="356292" y="2433233"/>
                </a:lnTo>
                <a:cubicBezTo>
                  <a:pt x="356292" y="2441698"/>
                  <a:pt x="349371" y="2448600"/>
                  <a:pt x="340882" y="2448600"/>
                </a:cubicBezTo>
                <a:cubicBezTo>
                  <a:pt x="334706" y="2448600"/>
                  <a:pt x="329147" y="2444952"/>
                  <a:pt x="326709" y="2439297"/>
                </a:cubicBezTo>
                <a:cubicBezTo>
                  <a:pt x="326218" y="2438160"/>
                  <a:pt x="324903" y="2437639"/>
                  <a:pt x="323746" y="2438129"/>
                </a:cubicBezTo>
                <a:cubicBezTo>
                  <a:pt x="322622" y="2438618"/>
                  <a:pt x="322084" y="2439929"/>
                  <a:pt x="322575" y="2441082"/>
                </a:cubicBezTo>
                <a:cubicBezTo>
                  <a:pt x="325727" y="2448379"/>
                  <a:pt x="332900" y="2453101"/>
                  <a:pt x="340882" y="2453101"/>
                </a:cubicBezTo>
                <a:cubicBezTo>
                  <a:pt x="351857" y="2453101"/>
                  <a:pt x="360789" y="2444193"/>
                  <a:pt x="360789" y="2433249"/>
                </a:cubicBezTo>
                <a:lnTo>
                  <a:pt x="360789" y="2415623"/>
                </a:lnTo>
                <a:cubicBezTo>
                  <a:pt x="360789" y="2404678"/>
                  <a:pt x="351857" y="2395771"/>
                  <a:pt x="340882" y="2395771"/>
                </a:cubicBezTo>
                <a:close/>
                <a:moveTo>
                  <a:pt x="309477" y="2395755"/>
                </a:moveTo>
                <a:cubicBezTo>
                  <a:pt x="308242" y="2395755"/>
                  <a:pt x="307245" y="2396750"/>
                  <a:pt x="307245" y="2397998"/>
                </a:cubicBezTo>
                <a:lnTo>
                  <a:pt x="307245" y="2433233"/>
                </a:lnTo>
                <a:cubicBezTo>
                  <a:pt x="307245" y="2434465"/>
                  <a:pt x="308242" y="2435475"/>
                  <a:pt x="309477" y="2435475"/>
                </a:cubicBezTo>
                <a:cubicBezTo>
                  <a:pt x="310728" y="2435475"/>
                  <a:pt x="311726" y="2434465"/>
                  <a:pt x="311726" y="2433233"/>
                </a:cubicBezTo>
                <a:lnTo>
                  <a:pt x="311726" y="2397998"/>
                </a:lnTo>
                <a:cubicBezTo>
                  <a:pt x="311726" y="2396750"/>
                  <a:pt x="310712" y="2395755"/>
                  <a:pt x="309477" y="2395755"/>
                </a:cubicBezTo>
                <a:close/>
                <a:moveTo>
                  <a:pt x="782403" y="2395739"/>
                </a:moveTo>
                <a:cubicBezTo>
                  <a:pt x="778127" y="2395739"/>
                  <a:pt x="774247" y="2397492"/>
                  <a:pt x="771444" y="2400303"/>
                </a:cubicBezTo>
                <a:lnTo>
                  <a:pt x="771444" y="2398029"/>
                </a:lnTo>
                <a:cubicBezTo>
                  <a:pt x="771444" y="2396781"/>
                  <a:pt x="770446" y="2395786"/>
                  <a:pt x="769195" y="2395786"/>
                </a:cubicBezTo>
                <a:lnTo>
                  <a:pt x="766946" y="2395786"/>
                </a:lnTo>
                <a:lnTo>
                  <a:pt x="766946" y="2398029"/>
                </a:lnTo>
                <a:lnTo>
                  <a:pt x="766946" y="2433233"/>
                </a:lnTo>
                <a:cubicBezTo>
                  <a:pt x="766946" y="2434464"/>
                  <a:pt x="767960" y="2435475"/>
                  <a:pt x="769195" y="2435475"/>
                </a:cubicBezTo>
                <a:cubicBezTo>
                  <a:pt x="770430" y="2435475"/>
                  <a:pt x="771444" y="2434464"/>
                  <a:pt x="771444" y="2433233"/>
                </a:cubicBezTo>
                <a:lnTo>
                  <a:pt x="771444" y="2411169"/>
                </a:lnTo>
                <a:cubicBezTo>
                  <a:pt x="771444" y="2405136"/>
                  <a:pt x="776353" y="2400240"/>
                  <a:pt x="782403" y="2400240"/>
                </a:cubicBezTo>
                <a:cubicBezTo>
                  <a:pt x="788453" y="2400240"/>
                  <a:pt x="793362" y="2405152"/>
                  <a:pt x="793362" y="2411169"/>
                </a:cubicBezTo>
                <a:lnTo>
                  <a:pt x="793362" y="2433233"/>
                </a:lnTo>
                <a:cubicBezTo>
                  <a:pt x="793362" y="2434464"/>
                  <a:pt x="794376" y="2435475"/>
                  <a:pt x="795611" y="2435475"/>
                </a:cubicBezTo>
                <a:cubicBezTo>
                  <a:pt x="796846" y="2435475"/>
                  <a:pt x="797860" y="2434464"/>
                  <a:pt x="797860" y="2433233"/>
                </a:cubicBezTo>
                <a:lnTo>
                  <a:pt x="797860" y="2411169"/>
                </a:lnTo>
                <a:cubicBezTo>
                  <a:pt x="797860" y="2405136"/>
                  <a:pt x="802785" y="2400240"/>
                  <a:pt x="808819" y="2400240"/>
                </a:cubicBezTo>
                <a:cubicBezTo>
                  <a:pt x="814853" y="2400240"/>
                  <a:pt x="819778" y="2405152"/>
                  <a:pt x="819778" y="2411169"/>
                </a:cubicBezTo>
                <a:lnTo>
                  <a:pt x="819778" y="2433233"/>
                </a:lnTo>
                <a:cubicBezTo>
                  <a:pt x="819778" y="2434464"/>
                  <a:pt x="820792" y="2435475"/>
                  <a:pt x="822027" y="2435475"/>
                </a:cubicBezTo>
                <a:cubicBezTo>
                  <a:pt x="823263" y="2435475"/>
                  <a:pt x="824276" y="2434464"/>
                  <a:pt x="824276" y="2433233"/>
                </a:cubicBezTo>
                <a:lnTo>
                  <a:pt x="824276" y="2411169"/>
                </a:lnTo>
                <a:cubicBezTo>
                  <a:pt x="824276" y="2406921"/>
                  <a:pt x="822542" y="2403063"/>
                  <a:pt x="819743" y="2400268"/>
                </a:cubicBezTo>
                <a:lnTo>
                  <a:pt x="808828" y="2395743"/>
                </a:lnTo>
                <a:lnTo>
                  <a:pt x="808835" y="2395739"/>
                </a:lnTo>
                <a:lnTo>
                  <a:pt x="808819" y="2395739"/>
                </a:lnTo>
                <a:lnTo>
                  <a:pt x="808828" y="2395743"/>
                </a:lnTo>
                <a:lnTo>
                  <a:pt x="795627" y="2403193"/>
                </a:lnTo>
                <a:cubicBezTo>
                  <a:pt x="792919" y="2398740"/>
                  <a:pt x="788009" y="2395739"/>
                  <a:pt x="782403" y="2395739"/>
                </a:cubicBezTo>
                <a:close/>
                <a:moveTo>
                  <a:pt x="653078" y="2395739"/>
                </a:moveTo>
                <a:cubicBezTo>
                  <a:pt x="648786" y="2395739"/>
                  <a:pt x="644922" y="2397492"/>
                  <a:pt x="642119" y="2400303"/>
                </a:cubicBezTo>
                <a:lnTo>
                  <a:pt x="642119" y="2398029"/>
                </a:lnTo>
                <a:cubicBezTo>
                  <a:pt x="642119" y="2396781"/>
                  <a:pt x="641105" y="2395786"/>
                  <a:pt x="639870" y="2395786"/>
                </a:cubicBezTo>
                <a:lnTo>
                  <a:pt x="637621" y="2395786"/>
                </a:lnTo>
                <a:lnTo>
                  <a:pt x="637621" y="2398029"/>
                </a:lnTo>
                <a:lnTo>
                  <a:pt x="637621" y="2433233"/>
                </a:lnTo>
                <a:cubicBezTo>
                  <a:pt x="637621" y="2434464"/>
                  <a:pt x="638635" y="2435475"/>
                  <a:pt x="639870" y="2435475"/>
                </a:cubicBezTo>
                <a:cubicBezTo>
                  <a:pt x="641105" y="2435475"/>
                  <a:pt x="642119" y="2434464"/>
                  <a:pt x="642119" y="2433233"/>
                </a:cubicBezTo>
                <a:lnTo>
                  <a:pt x="642119" y="2411169"/>
                </a:lnTo>
                <a:cubicBezTo>
                  <a:pt x="642119" y="2405136"/>
                  <a:pt x="647028" y="2400240"/>
                  <a:pt x="653078" y="2400240"/>
                </a:cubicBezTo>
                <a:cubicBezTo>
                  <a:pt x="659128" y="2400240"/>
                  <a:pt x="664037" y="2405152"/>
                  <a:pt x="664037" y="2411169"/>
                </a:cubicBezTo>
                <a:lnTo>
                  <a:pt x="664037" y="2433233"/>
                </a:lnTo>
                <a:cubicBezTo>
                  <a:pt x="664037" y="2434464"/>
                  <a:pt x="665051" y="2435475"/>
                  <a:pt x="666286" y="2435475"/>
                </a:cubicBezTo>
                <a:cubicBezTo>
                  <a:pt x="667521" y="2435475"/>
                  <a:pt x="668535" y="2434464"/>
                  <a:pt x="668535" y="2433233"/>
                </a:cubicBezTo>
                <a:lnTo>
                  <a:pt x="668535" y="2411169"/>
                </a:lnTo>
                <a:cubicBezTo>
                  <a:pt x="668535" y="2405136"/>
                  <a:pt x="673444" y="2400240"/>
                  <a:pt x="679494" y="2400240"/>
                </a:cubicBezTo>
                <a:cubicBezTo>
                  <a:pt x="685544" y="2400240"/>
                  <a:pt x="690453" y="2405152"/>
                  <a:pt x="690453" y="2411169"/>
                </a:cubicBezTo>
                <a:lnTo>
                  <a:pt x="690453" y="2433233"/>
                </a:lnTo>
                <a:cubicBezTo>
                  <a:pt x="690453" y="2434464"/>
                  <a:pt x="691467" y="2435475"/>
                  <a:pt x="692718" y="2435475"/>
                </a:cubicBezTo>
                <a:cubicBezTo>
                  <a:pt x="693969" y="2435475"/>
                  <a:pt x="694951" y="2434464"/>
                  <a:pt x="694951" y="2433233"/>
                </a:cubicBezTo>
                <a:lnTo>
                  <a:pt x="694951" y="2411169"/>
                </a:lnTo>
                <a:cubicBezTo>
                  <a:pt x="694951" y="2402672"/>
                  <a:pt x="688015" y="2395739"/>
                  <a:pt x="679494" y="2395739"/>
                </a:cubicBezTo>
                <a:cubicBezTo>
                  <a:pt x="673904" y="2395739"/>
                  <a:pt x="669010" y="2398740"/>
                  <a:pt x="666286" y="2403193"/>
                </a:cubicBezTo>
                <a:cubicBezTo>
                  <a:pt x="663578" y="2398740"/>
                  <a:pt x="658668" y="2395739"/>
                  <a:pt x="653078" y="2395739"/>
                </a:cubicBezTo>
                <a:close/>
                <a:moveTo>
                  <a:pt x="923812" y="2383720"/>
                </a:moveTo>
                <a:lnTo>
                  <a:pt x="923812" y="2385963"/>
                </a:lnTo>
                <a:cubicBezTo>
                  <a:pt x="923812" y="2387195"/>
                  <a:pt x="924826" y="2388205"/>
                  <a:pt x="926061" y="2388205"/>
                </a:cubicBezTo>
                <a:cubicBezTo>
                  <a:pt x="927296" y="2388205"/>
                  <a:pt x="928294" y="2387195"/>
                  <a:pt x="928294" y="2385963"/>
                </a:cubicBezTo>
                <a:cubicBezTo>
                  <a:pt x="928294" y="2384731"/>
                  <a:pt x="927296" y="2383720"/>
                  <a:pt x="926061" y="2383720"/>
                </a:cubicBezTo>
                <a:close/>
                <a:moveTo>
                  <a:pt x="537483" y="2383720"/>
                </a:moveTo>
                <a:lnTo>
                  <a:pt x="537483" y="2385963"/>
                </a:lnTo>
                <a:cubicBezTo>
                  <a:pt x="537483" y="2387195"/>
                  <a:pt x="538497" y="2388205"/>
                  <a:pt x="539732" y="2388205"/>
                </a:cubicBezTo>
                <a:cubicBezTo>
                  <a:pt x="540967" y="2388205"/>
                  <a:pt x="541981" y="2387195"/>
                  <a:pt x="541981" y="2385963"/>
                </a:cubicBezTo>
                <a:cubicBezTo>
                  <a:pt x="541981" y="2384731"/>
                  <a:pt x="540967" y="2383720"/>
                  <a:pt x="539732" y="2383720"/>
                </a:cubicBezTo>
                <a:close/>
                <a:moveTo>
                  <a:pt x="369737" y="2383720"/>
                </a:moveTo>
                <a:lnTo>
                  <a:pt x="369737" y="2385963"/>
                </a:lnTo>
                <a:cubicBezTo>
                  <a:pt x="369737" y="2387195"/>
                  <a:pt x="370751" y="2388205"/>
                  <a:pt x="371986" y="2388205"/>
                </a:cubicBezTo>
                <a:cubicBezTo>
                  <a:pt x="373221" y="2388205"/>
                  <a:pt x="374235" y="2387195"/>
                  <a:pt x="374235" y="2385963"/>
                </a:cubicBezTo>
                <a:cubicBezTo>
                  <a:pt x="374235" y="2384731"/>
                  <a:pt x="373237" y="2383720"/>
                  <a:pt x="371986" y="2383720"/>
                </a:cubicBezTo>
                <a:close/>
                <a:moveTo>
                  <a:pt x="307228" y="2383720"/>
                </a:moveTo>
                <a:lnTo>
                  <a:pt x="307228" y="2385963"/>
                </a:lnTo>
                <a:cubicBezTo>
                  <a:pt x="307228" y="2387195"/>
                  <a:pt x="308242" y="2388205"/>
                  <a:pt x="309477" y="2388205"/>
                </a:cubicBezTo>
                <a:cubicBezTo>
                  <a:pt x="310712" y="2388205"/>
                  <a:pt x="311710" y="2387195"/>
                  <a:pt x="311710" y="2385963"/>
                </a:cubicBezTo>
                <a:cubicBezTo>
                  <a:pt x="311710" y="2384731"/>
                  <a:pt x="310712" y="2383720"/>
                  <a:pt x="309477" y="2383720"/>
                </a:cubicBezTo>
                <a:close/>
                <a:moveTo>
                  <a:pt x="912710" y="2378966"/>
                </a:moveTo>
                <a:cubicBezTo>
                  <a:pt x="911475" y="2378966"/>
                  <a:pt x="910461" y="2379961"/>
                  <a:pt x="910461" y="2381209"/>
                </a:cubicBezTo>
                <a:lnTo>
                  <a:pt x="910461" y="2403067"/>
                </a:lnTo>
                <a:cubicBezTo>
                  <a:pt x="906803" y="2398613"/>
                  <a:pt x="901244" y="2395770"/>
                  <a:pt x="895036" y="2395770"/>
                </a:cubicBezTo>
                <a:cubicBezTo>
                  <a:pt x="884061" y="2395770"/>
                  <a:pt x="875129" y="2404678"/>
                  <a:pt x="875129" y="2415623"/>
                </a:cubicBezTo>
                <a:cubicBezTo>
                  <a:pt x="875129" y="2426567"/>
                  <a:pt x="884061" y="2435475"/>
                  <a:pt x="895036" y="2435475"/>
                </a:cubicBezTo>
                <a:lnTo>
                  <a:pt x="914959" y="2435475"/>
                </a:lnTo>
                <a:lnTo>
                  <a:pt x="914959" y="2381209"/>
                </a:lnTo>
                <a:cubicBezTo>
                  <a:pt x="914959" y="2379961"/>
                  <a:pt x="913946" y="2378966"/>
                  <a:pt x="912710" y="2378966"/>
                </a:cubicBezTo>
                <a:close/>
                <a:moveTo>
                  <a:pt x="457696" y="2378966"/>
                </a:moveTo>
                <a:cubicBezTo>
                  <a:pt x="456461" y="2378966"/>
                  <a:pt x="455447" y="2379961"/>
                  <a:pt x="455447" y="2381209"/>
                </a:cubicBezTo>
                <a:lnTo>
                  <a:pt x="455447" y="2429805"/>
                </a:lnTo>
                <a:cubicBezTo>
                  <a:pt x="455447" y="2432932"/>
                  <a:pt x="457997" y="2435475"/>
                  <a:pt x="461132" y="2435475"/>
                </a:cubicBezTo>
                <a:cubicBezTo>
                  <a:pt x="462384" y="2435475"/>
                  <a:pt x="463381" y="2434480"/>
                  <a:pt x="463381" y="2433232"/>
                </a:cubicBezTo>
                <a:cubicBezTo>
                  <a:pt x="463381" y="2431984"/>
                  <a:pt x="462384" y="2430990"/>
                  <a:pt x="461132" y="2430990"/>
                </a:cubicBezTo>
                <a:cubicBezTo>
                  <a:pt x="460483" y="2430990"/>
                  <a:pt x="459945" y="2430468"/>
                  <a:pt x="459945" y="2429805"/>
                </a:cubicBezTo>
                <a:lnTo>
                  <a:pt x="459945" y="2381209"/>
                </a:lnTo>
                <a:cubicBezTo>
                  <a:pt x="459945" y="2379961"/>
                  <a:pt x="458931" y="2378966"/>
                  <a:pt x="457696" y="2378966"/>
                </a:cubicBezTo>
                <a:close/>
                <a:moveTo>
                  <a:pt x="391624" y="2378951"/>
                </a:moveTo>
                <a:cubicBezTo>
                  <a:pt x="390389" y="2378951"/>
                  <a:pt x="389375" y="2379946"/>
                  <a:pt x="389375" y="2381194"/>
                </a:cubicBezTo>
                <a:lnTo>
                  <a:pt x="389375" y="2395755"/>
                </a:lnTo>
                <a:lnTo>
                  <a:pt x="385606" y="2395755"/>
                </a:lnTo>
                <a:cubicBezTo>
                  <a:pt x="384371" y="2395755"/>
                  <a:pt x="383358" y="2396750"/>
                  <a:pt x="383358" y="2397998"/>
                </a:cubicBezTo>
                <a:cubicBezTo>
                  <a:pt x="383358" y="2399246"/>
                  <a:pt x="384371" y="2400241"/>
                  <a:pt x="385606" y="2400241"/>
                </a:cubicBezTo>
                <a:lnTo>
                  <a:pt x="389375" y="2400241"/>
                </a:lnTo>
                <a:lnTo>
                  <a:pt x="389375" y="2423552"/>
                </a:lnTo>
                <a:cubicBezTo>
                  <a:pt x="389375" y="2430122"/>
                  <a:pt x="394728" y="2435460"/>
                  <a:pt x="401316" y="2435460"/>
                </a:cubicBezTo>
                <a:cubicBezTo>
                  <a:pt x="402219" y="2435460"/>
                  <a:pt x="403106" y="2435365"/>
                  <a:pt x="403977" y="2435160"/>
                </a:cubicBezTo>
                <a:lnTo>
                  <a:pt x="405664" y="2432487"/>
                </a:lnTo>
                <a:lnTo>
                  <a:pt x="405672" y="2432491"/>
                </a:lnTo>
                <a:lnTo>
                  <a:pt x="405672" y="2432475"/>
                </a:lnTo>
                <a:lnTo>
                  <a:pt x="405664" y="2432487"/>
                </a:lnTo>
                <a:lnTo>
                  <a:pt x="402979" y="2430801"/>
                </a:lnTo>
                <a:cubicBezTo>
                  <a:pt x="402441" y="2430927"/>
                  <a:pt x="401886" y="2430990"/>
                  <a:pt x="401316" y="2430990"/>
                </a:cubicBezTo>
                <a:cubicBezTo>
                  <a:pt x="397214" y="2430990"/>
                  <a:pt x="393873" y="2427658"/>
                  <a:pt x="393873" y="2423552"/>
                </a:cubicBezTo>
                <a:lnTo>
                  <a:pt x="393873" y="2400241"/>
                </a:lnTo>
                <a:lnTo>
                  <a:pt x="400208" y="2400241"/>
                </a:lnTo>
                <a:cubicBezTo>
                  <a:pt x="401459" y="2400241"/>
                  <a:pt x="402456" y="2399230"/>
                  <a:pt x="402456" y="2397998"/>
                </a:cubicBezTo>
                <a:cubicBezTo>
                  <a:pt x="402456" y="2396766"/>
                  <a:pt x="401459" y="2395755"/>
                  <a:pt x="400208" y="2395755"/>
                </a:cubicBezTo>
                <a:lnTo>
                  <a:pt x="393873" y="2395755"/>
                </a:lnTo>
                <a:lnTo>
                  <a:pt x="393873" y="2381194"/>
                </a:lnTo>
                <a:cubicBezTo>
                  <a:pt x="393873" y="2379946"/>
                  <a:pt x="392859" y="2378951"/>
                  <a:pt x="391624" y="2378951"/>
                </a:cubicBezTo>
                <a:close/>
                <a:moveTo>
                  <a:pt x="296175" y="2378951"/>
                </a:moveTo>
                <a:cubicBezTo>
                  <a:pt x="294939" y="2378951"/>
                  <a:pt x="293926" y="2379946"/>
                  <a:pt x="293926" y="2381194"/>
                </a:cubicBezTo>
                <a:lnTo>
                  <a:pt x="293926" y="2403052"/>
                </a:lnTo>
                <a:cubicBezTo>
                  <a:pt x="290283" y="2398598"/>
                  <a:pt x="284724" y="2395755"/>
                  <a:pt x="278516" y="2395755"/>
                </a:cubicBezTo>
                <a:cubicBezTo>
                  <a:pt x="267541" y="2395755"/>
                  <a:pt x="258609" y="2404647"/>
                  <a:pt x="258609" y="2415608"/>
                </a:cubicBezTo>
                <a:cubicBezTo>
                  <a:pt x="258609" y="2426568"/>
                  <a:pt x="267541" y="2435476"/>
                  <a:pt x="278516" y="2435476"/>
                </a:cubicBezTo>
                <a:lnTo>
                  <a:pt x="298423" y="2435476"/>
                </a:lnTo>
                <a:lnTo>
                  <a:pt x="298423" y="2435460"/>
                </a:lnTo>
                <a:lnTo>
                  <a:pt x="298423" y="2381194"/>
                </a:lnTo>
                <a:cubicBezTo>
                  <a:pt x="298423" y="2379946"/>
                  <a:pt x="297410" y="2378951"/>
                  <a:pt x="296175" y="2378951"/>
                </a:cubicBezTo>
                <a:close/>
                <a:moveTo>
                  <a:pt x="533786" y="2274080"/>
                </a:moveTo>
                <a:lnTo>
                  <a:pt x="533794" y="2274099"/>
                </a:lnTo>
                <a:lnTo>
                  <a:pt x="533786" y="2274119"/>
                </a:lnTo>
                <a:lnTo>
                  <a:pt x="533778" y="2274099"/>
                </a:lnTo>
                <a:close/>
                <a:moveTo>
                  <a:pt x="258609" y="2204197"/>
                </a:moveTo>
                <a:lnTo>
                  <a:pt x="258609" y="2274099"/>
                </a:lnTo>
                <a:cubicBezTo>
                  <a:pt x="258609" y="2312714"/>
                  <a:pt x="289412" y="2344016"/>
                  <a:pt x="327405" y="2344016"/>
                </a:cubicBezTo>
                <a:cubicBezTo>
                  <a:pt x="365398" y="2344016"/>
                  <a:pt x="396201" y="2312729"/>
                  <a:pt x="396201" y="2274099"/>
                </a:cubicBezTo>
                <a:cubicBezTo>
                  <a:pt x="396201" y="2312714"/>
                  <a:pt x="427004" y="2344016"/>
                  <a:pt x="464997" y="2344016"/>
                </a:cubicBezTo>
                <a:cubicBezTo>
                  <a:pt x="483994" y="2344016"/>
                  <a:pt x="501193" y="2336194"/>
                  <a:pt x="513643" y="2323544"/>
                </a:cubicBezTo>
                <a:lnTo>
                  <a:pt x="533786" y="2274119"/>
                </a:lnTo>
                <a:lnTo>
                  <a:pt x="553923" y="2323538"/>
                </a:lnTo>
                <a:cubicBezTo>
                  <a:pt x="566371" y="2336191"/>
                  <a:pt x="583570" y="2344016"/>
                  <a:pt x="602574" y="2344016"/>
                </a:cubicBezTo>
                <a:cubicBezTo>
                  <a:pt x="615117" y="2344016"/>
                  <a:pt x="626868" y="2340605"/>
                  <a:pt x="636972" y="2334651"/>
                </a:cubicBezTo>
                <a:cubicBezTo>
                  <a:pt x="647108" y="2340605"/>
                  <a:pt x="658843" y="2344016"/>
                  <a:pt x="671370" y="2344016"/>
                </a:cubicBezTo>
                <a:cubicBezTo>
                  <a:pt x="709363" y="2344016"/>
                  <a:pt x="740166" y="2312729"/>
                  <a:pt x="740166" y="2274099"/>
                </a:cubicBezTo>
                <a:cubicBezTo>
                  <a:pt x="740166" y="2235468"/>
                  <a:pt x="709379" y="2204197"/>
                  <a:pt x="671386" y="2204197"/>
                </a:cubicBezTo>
                <a:cubicBezTo>
                  <a:pt x="658859" y="2204197"/>
                  <a:pt x="647123" y="2207593"/>
                  <a:pt x="636989" y="2213547"/>
                </a:cubicBezTo>
                <a:lnTo>
                  <a:pt x="636972" y="2213547"/>
                </a:lnTo>
                <a:cubicBezTo>
                  <a:pt x="626868" y="2207608"/>
                  <a:pt x="615117" y="2204197"/>
                  <a:pt x="602574" y="2204197"/>
                </a:cubicBezTo>
                <a:cubicBezTo>
                  <a:pt x="583570" y="2204197"/>
                  <a:pt x="566371" y="2212019"/>
                  <a:pt x="553923" y="2224667"/>
                </a:cubicBezTo>
                <a:lnTo>
                  <a:pt x="533786" y="2274080"/>
                </a:lnTo>
                <a:lnTo>
                  <a:pt x="513637" y="2224662"/>
                </a:lnTo>
                <a:cubicBezTo>
                  <a:pt x="501185" y="2212015"/>
                  <a:pt x="483986" y="2204197"/>
                  <a:pt x="464997" y="2204197"/>
                </a:cubicBezTo>
                <a:cubicBezTo>
                  <a:pt x="427020" y="2204197"/>
                  <a:pt x="396201" y="2235484"/>
                  <a:pt x="396201" y="2274099"/>
                </a:cubicBezTo>
                <a:cubicBezTo>
                  <a:pt x="396201" y="2235468"/>
                  <a:pt x="365398" y="2204197"/>
                  <a:pt x="327405" y="220419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2574000"/>
                </a:lnTo>
                <a:lnTo>
                  <a:pt x="0" y="257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25717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128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8558"/>
            <a:ext cx="4026026" cy="1720686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0E1B65-35E1-AD3E-30B4-4DF5696ECD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702128"/>
            <a:ext cx="4026026" cy="1720686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9A5AA050-0DEA-28E5-1A35-8A5DE710C8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3422814"/>
            <a:ext cx="4026025" cy="1720686"/>
          </a:xfrm>
          <a:custGeom>
            <a:avLst/>
            <a:gdLst>
              <a:gd name="connsiteX0" fmla="*/ 956975 w 4026025"/>
              <a:gd name="connsiteY0" fmla="*/ 1552782 h 1720686"/>
              <a:gd name="connsiteX1" fmla="*/ 972400 w 4026025"/>
              <a:gd name="connsiteY1" fmla="*/ 1568149 h 1720686"/>
              <a:gd name="connsiteX2" fmla="*/ 972400 w 4026025"/>
              <a:gd name="connsiteY2" fmla="*/ 1583531 h 1720686"/>
              <a:gd name="connsiteX3" fmla="*/ 956975 w 4026025"/>
              <a:gd name="connsiteY3" fmla="*/ 1583531 h 1720686"/>
              <a:gd name="connsiteX4" fmla="*/ 941566 w 4026025"/>
              <a:gd name="connsiteY4" fmla="*/ 1568149 h 1720686"/>
              <a:gd name="connsiteX5" fmla="*/ 956975 w 4026025"/>
              <a:gd name="connsiteY5" fmla="*/ 1552782 h 1720686"/>
              <a:gd name="connsiteX6" fmla="*/ 849077 w 4026025"/>
              <a:gd name="connsiteY6" fmla="*/ 1552782 h 1720686"/>
              <a:gd name="connsiteX7" fmla="*/ 864328 w 4026025"/>
              <a:gd name="connsiteY7" fmla="*/ 1565906 h 1720686"/>
              <a:gd name="connsiteX8" fmla="*/ 833826 w 4026025"/>
              <a:gd name="connsiteY8" fmla="*/ 1565906 h 1720686"/>
              <a:gd name="connsiteX9" fmla="*/ 849077 w 4026025"/>
              <a:gd name="connsiteY9" fmla="*/ 1552782 h 1720686"/>
              <a:gd name="connsiteX10" fmla="*/ 720496 w 4026025"/>
              <a:gd name="connsiteY10" fmla="*/ 1552782 h 1720686"/>
              <a:gd name="connsiteX11" fmla="*/ 735922 w 4026025"/>
              <a:gd name="connsiteY11" fmla="*/ 1568149 h 1720686"/>
              <a:gd name="connsiteX12" fmla="*/ 735922 w 4026025"/>
              <a:gd name="connsiteY12" fmla="*/ 1583531 h 1720686"/>
              <a:gd name="connsiteX13" fmla="*/ 720496 w 4026025"/>
              <a:gd name="connsiteY13" fmla="*/ 1583531 h 1720686"/>
              <a:gd name="connsiteX14" fmla="*/ 705087 w 4026025"/>
              <a:gd name="connsiteY14" fmla="*/ 1568149 h 1720686"/>
              <a:gd name="connsiteX15" fmla="*/ 720496 w 4026025"/>
              <a:gd name="connsiteY15" fmla="*/ 1552782 h 1720686"/>
              <a:gd name="connsiteX16" fmla="*/ 612646 w 4026025"/>
              <a:gd name="connsiteY16" fmla="*/ 1552782 h 1720686"/>
              <a:gd name="connsiteX17" fmla="*/ 627897 w 4026025"/>
              <a:gd name="connsiteY17" fmla="*/ 1565906 h 1720686"/>
              <a:gd name="connsiteX18" fmla="*/ 597395 w 4026025"/>
              <a:gd name="connsiteY18" fmla="*/ 1565906 h 1720686"/>
              <a:gd name="connsiteX19" fmla="*/ 612646 w 4026025"/>
              <a:gd name="connsiteY19" fmla="*/ 1552782 h 1720686"/>
              <a:gd name="connsiteX20" fmla="*/ 429632 w 4026025"/>
              <a:gd name="connsiteY20" fmla="*/ 1552782 h 1720686"/>
              <a:gd name="connsiteX21" fmla="*/ 445042 w 4026025"/>
              <a:gd name="connsiteY21" fmla="*/ 1568149 h 1720686"/>
              <a:gd name="connsiteX22" fmla="*/ 445042 w 4026025"/>
              <a:gd name="connsiteY22" fmla="*/ 1583531 h 1720686"/>
              <a:gd name="connsiteX23" fmla="*/ 429632 w 4026025"/>
              <a:gd name="connsiteY23" fmla="*/ 1583531 h 1720686"/>
              <a:gd name="connsiteX24" fmla="*/ 414223 w 4026025"/>
              <a:gd name="connsiteY24" fmla="*/ 1568149 h 1720686"/>
              <a:gd name="connsiteX25" fmla="*/ 429632 w 4026025"/>
              <a:gd name="connsiteY25" fmla="*/ 1552782 h 1720686"/>
              <a:gd name="connsiteX26" fmla="*/ 278517 w 4026025"/>
              <a:gd name="connsiteY26" fmla="*/ 1552782 h 1720686"/>
              <a:gd name="connsiteX27" fmla="*/ 293927 w 4026025"/>
              <a:gd name="connsiteY27" fmla="*/ 1568149 h 1720686"/>
              <a:gd name="connsiteX28" fmla="*/ 293927 w 4026025"/>
              <a:gd name="connsiteY28" fmla="*/ 1583531 h 1720686"/>
              <a:gd name="connsiteX29" fmla="*/ 278517 w 4026025"/>
              <a:gd name="connsiteY29" fmla="*/ 1583531 h 1720686"/>
              <a:gd name="connsiteX30" fmla="*/ 263107 w 4026025"/>
              <a:gd name="connsiteY30" fmla="*/ 1568149 h 1720686"/>
              <a:gd name="connsiteX31" fmla="*/ 278517 w 4026025"/>
              <a:gd name="connsiteY31" fmla="*/ 1552782 h 1720686"/>
              <a:gd name="connsiteX32" fmla="*/ 895052 w 4026025"/>
              <a:gd name="connsiteY32" fmla="*/ 1552781 h 1720686"/>
              <a:gd name="connsiteX33" fmla="*/ 910477 w 4026025"/>
              <a:gd name="connsiteY33" fmla="*/ 1568148 h 1720686"/>
              <a:gd name="connsiteX34" fmla="*/ 910477 w 4026025"/>
              <a:gd name="connsiteY34" fmla="*/ 1583531 h 1720686"/>
              <a:gd name="connsiteX35" fmla="*/ 895052 w 4026025"/>
              <a:gd name="connsiteY35" fmla="*/ 1583531 h 1720686"/>
              <a:gd name="connsiteX36" fmla="*/ 879643 w 4026025"/>
              <a:gd name="connsiteY36" fmla="*/ 1568148 h 1720686"/>
              <a:gd name="connsiteX37" fmla="*/ 895052 w 4026025"/>
              <a:gd name="connsiteY37" fmla="*/ 1552781 h 1720686"/>
              <a:gd name="connsiteX38" fmla="*/ 340882 w 4026025"/>
              <a:gd name="connsiteY38" fmla="*/ 1552781 h 1720686"/>
              <a:gd name="connsiteX39" fmla="*/ 356292 w 4026025"/>
              <a:gd name="connsiteY39" fmla="*/ 1568148 h 1720686"/>
              <a:gd name="connsiteX40" fmla="*/ 340882 w 4026025"/>
              <a:gd name="connsiteY40" fmla="*/ 1583531 h 1720686"/>
              <a:gd name="connsiteX41" fmla="*/ 325474 w 4026025"/>
              <a:gd name="connsiteY41" fmla="*/ 1568148 h 1720686"/>
              <a:gd name="connsiteX42" fmla="*/ 340882 w 4026025"/>
              <a:gd name="connsiteY42" fmla="*/ 1552781 h 1720686"/>
              <a:gd name="connsiteX43" fmla="*/ 550104 w 4026025"/>
              <a:gd name="connsiteY43" fmla="*/ 1548327 h 1720686"/>
              <a:gd name="connsiteX44" fmla="*/ 550104 w 4026025"/>
              <a:gd name="connsiteY44" fmla="*/ 1585773 h 1720686"/>
              <a:gd name="connsiteX45" fmla="*/ 552353 w 4026025"/>
              <a:gd name="connsiteY45" fmla="*/ 1588016 h 1720686"/>
              <a:gd name="connsiteX46" fmla="*/ 554602 w 4026025"/>
              <a:gd name="connsiteY46" fmla="*/ 1585773 h 1720686"/>
              <a:gd name="connsiteX47" fmla="*/ 554602 w 4026025"/>
              <a:gd name="connsiteY47" fmla="*/ 1571607 h 1720686"/>
              <a:gd name="connsiteX48" fmla="*/ 554602 w 4026025"/>
              <a:gd name="connsiteY48" fmla="*/ 1566521 h 1720686"/>
              <a:gd name="connsiteX49" fmla="*/ 568364 w 4026025"/>
              <a:gd name="connsiteY49" fmla="*/ 1552812 h 1720686"/>
              <a:gd name="connsiteX50" fmla="*/ 582127 w 4026025"/>
              <a:gd name="connsiteY50" fmla="*/ 1566537 h 1720686"/>
              <a:gd name="connsiteX51" fmla="*/ 582127 w 4026025"/>
              <a:gd name="connsiteY51" fmla="*/ 1585773 h 1720686"/>
              <a:gd name="connsiteX52" fmla="*/ 584375 w 4026025"/>
              <a:gd name="connsiteY52" fmla="*/ 1588016 h 1720686"/>
              <a:gd name="connsiteX53" fmla="*/ 586624 w 4026025"/>
              <a:gd name="connsiteY53" fmla="*/ 1585773 h 1720686"/>
              <a:gd name="connsiteX54" fmla="*/ 586624 w 4026025"/>
              <a:gd name="connsiteY54" fmla="*/ 1566537 h 1720686"/>
              <a:gd name="connsiteX55" fmla="*/ 568380 w 4026025"/>
              <a:gd name="connsiteY55" fmla="*/ 1548327 h 1720686"/>
              <a:gd name="connsiteX56" fmla="*/ 568364 w 4026025"/>
              <a:gd name="connsiteY56" fmla="*/ 1548327 h 1720686"/>
              <a:gd name="connsiteX57" fmla="*/ 554602 w 4026025"/>
              <a:gd name="connsiteY57" fmla="*/ 1554581 h 1720686"/>
              <a:gd name="connsiteX58" fmla="*/ 554602 w 4026025"/>
              <a:gd name="connsiteY58" fmla="*/ 1550570 h 1720686"/>
              <a:gd name="connsiteX59" fmla="*/ 552353 w 4026025"/>
              <a:gd name="connsiteY59" fmla="*/ 1548327 h 1720686"/>
              <a:gd name="connsiteX60" fmla="*/ 956975 w 4026025"/>
              <a:gd name="connsiteY60" fmla="*/ 1548312 h 1720686"/>
              <a:gd name="connsiteX61" fmla="*/ 937068 w 4026025"/>
              <a:gd name="connsiteY61" fmla="*/ 1568164 h 1720686"/>
              <a:gd name="connsiteX62" fmla="*/ 956975 w 4026025"/>
              <a:gd name="connsiteY62" fmla="*/ 1588017 h 1720686"/>
              <a:gd name="connsiteX63" fmla="*/ 976882 w 4026025"/>
              <a:gd name="connsiteY63" fmla="*/ 1588017 h 1720686"/>
              <a:gd name="connsiteX64" fmla="*/ 976882 w 4026025"/>
              <a:gd name="connsiteY64" fmla="*/ 1568164 h 1720686"/>
              <a:gd name="connsiteX65" fmla="*/ 956975 w 4026025"/>
              <a:gd name="connsiteY65" fmla="*/ 1548312 h 1720686"/>
              <a:gd name="connsiteX66" fmla="*/ 849077 w 4026025"/>
              <a:gd name="connsiteY66" fmla="*/ 1548312 h 1720686"/>
              <a:gd name="connsiteX67" fmla="*/ 829170 w 4026025"/>
              <a:gd name="connsiteY67" fmla="*/ 1568164 h 1720686"/>
              <a:gd name="connsiteX68" fmla="*/ 849077 w 4026025"/>
              <a:gd name="connsiteY68" fmla="*/ 1588017 h 1720686"/>
              <a:gd name="connsiteX69" fmla="*/ 861272 w 4026025"/>
              <a:gd name="connsiteY69" fmla="*/ 1583863 h 1720686"/>
              <a:gd name="connsiteX70" fmla="*/ 861668 w 4026025"/>
              <a:gd name="connsiteY70" fmla="*/ 1580720 h 1720686"/>
              <a:gd name="connsiteX71" fmla="*/ 858516 w 4026025"/>
              <a:gd name="connsiteY71" fmla="*/ 1580325 h 1720686"/>
              <a:gd name="connsiteX72" fmla="*/ 849077 w 4026025"/>
              <a:gd name="connsiteY72" fmla="*/ 1583547 h 1720686"/>
              <a:gd name="connsiteX73" fmla="*/ 833826 w 4026025"/>
              <a:gd name="connsiteY73" fmla="*/ 1570407 h 1720686"/>
              <a:gd name="connsiteX74" fmla="*/ 866735 w 4026025"/>
              <a:gd name="connsiteY74" fmla="*/ 1570407 h 1720686"/>
              <a:gd name="connsiteX75" fmla="*/ 868984 w 4026025"/>
              <a:gd name="connsiteY75" fmla="*/ 1568164 h 1720686"/>
              <a:gd name="connsiteX76" fmla="*/ 849077 w 4026025"/>
              <a:gd name="connsiteY76" fmla="*/ 1548312 h 1720686"/>
              <a:gd name="connsiteX77" fmla="*/ 720496 w 4026025"/>
              <a:gd name="connsiteY77" fmla="*/ 1548312 h 1720686"/>
              <a:gd name="connsiteX78" fmla="*/ 700589 w 4026025"/>
              <a:gd name="connsiteY78" fmla="*/ 1568164 h 1720686"/>
              <a:gd name="connsiteX79" fmla="*/ 720496 w 4026025"/>
              <a:gd name="connsiteY79" fmla="*/ 1588017 h 1720686"/>
              <a:gd name="connsiteX80" fmla="*/ 740419 w 4026025"/>
              <a:gd name="connsiteY80" fmla="*/ 1588017 h 1720686"/>
              <a:gd name="connsiteX81" fmla="*/ 740419 w 4026025"/>
              <a:gd name="connsiteY81" fmla="*/ 1568164 h 1720686"/>
              <a:gd name="connsiteX82" fmla="*/ 720496 w 4026025"/>
              <a:gd name="connsiteY82" fmla="*/ 1548312 h 1720686"/>
              <a:gd name="connsiteX83" fmla="*/ 612646 w 4026025"/>
              <a:gd name="connsiteY83" fmla="*/ 1548312 h 1720686"/>
              <a:gd name="connsiteX84" fmla="*/ 592739 w 4026025"/>
              <a:gd name="connsiteY84" fmla="*/ 1568164 h 1720686"/>
              <a:gd name="connsiteX85" fmla="*/ 612646 w 4026025"/>
              <a:gd name="connsiteY85" fmla="*/ 1588017 h 1720686"/>
              <a:gd name="connsiteX86" fmla="*/ 624841 w 4026025"/>
              <a:gd name="connsiteY86" fmla="*/ 1583863 h 1720686"/>
              <a:gd name="connsiteX87" fmla="*/ 625237 w 4026025"/>
              <a:gd name="connsiteY87" fmla="*/ 1580720 h 1720686"/>
              <a:gd name="connsiteX88" fmla="*/ 622085 w 4026025"/>
              <a:gd name="connsiteY88" fmla="*/ 1580325 h 1720686"/>
              <a:gd name="connsiteX89" fmla="*/ 612646 w 4026025"/>
              <a:gd name="connsiteY89" fmla="*/ 1583547 h 1720686"/>
              <a:gd name="connsiteX90" fmla="*/ 597395 w 4026025"/>
              <a:gd name="connsiteY90" fmla="*/ 1570407 h 1720686"/>
              <a:gd name="connsiteX91" fmla="*/ 630304 w 4026025"/>
              <a:gd name="connsiteY91" fmla="*/ 1570407 h 1720686"/>
              <a:gd name="connsiteX92" fmla="*/ 632553 w 4026025"/>
              <a:gd name="connsiteY92" fmla="*/ 1568164 h 1720686"/>
              <a:gd name="connsiteX93" fmla="*/ 612646 w 4026025"/>
              <a:gd name="connsiteY93" fmla="*/ 1548312 h 1720686"/>
              <a:gd name="connsiteX94" fmla="*/ 513331 w 4026025"/>
              <a:gd name="connsiteY94" fmla="*/ 1548312 h 1720686"/>
              <a:gd name="connsiteX95" fmla="*/ 493424 w 4026025"/>
              <a:gd name="connsiteY95" fmla="*/ 1568164 h 1720686"/>
              <a:gd name="connsiteX96" fmla="*/ 513331 w 4026025"/>
              <a:gd name="connsiteY96" fmla="*/ 1588017 h 1720686"/>
              <a:gd name="connsiteX97" fmla="*/ 526001 w 4026025"/>
              <a:gd name="connsiteY97" fmla="*/ 1583468 h 1720686"/>
              <a:gd name="connsiteX98" fmla="*/ 526302 w 4026025"/>
              <a:gd name="connsiteY98" fmla="*/ 1580309 h 1720686"/>
              <a:gd name="connsiteX99" fmla="*/ 523134 w 4026025"/>
              <a:gd name="connsiteY99" fmla="*/ 1580009 h 1720686"/>
              <a:gd name="connsiteX100" fmla="*/ 513331 w 4026025"/>
              <a:gd name="connsiteY100" fmla="*/ 1583531 h 1720686"/>
              <a:gd name="connsiteX101" fmla="*/ 497906 w 4026025"/>
              <a:gd name="connsiteY101" fmla="*/ 1568149 h 1720686"/>
              <a:gd name="connsiteX102" fmla="*/ 513331 w 4026025"/>
              <a:gd name="connsiteY102" fmla="*/ 1552782 h 1720686"/>
              <a:gd name="connsiteX103" fmla="*/ 523134 w 4026025"/>
              <a:gd name="connsiteY103" fmla="*/ 1556303 h 1720686"/>
              <a:gd name="connsiteX104" fmla="*/ 526302 w 4026025"/>
              <a:gd name="connsiteY104" fmla="*/ 1556003 h 1720686"/>
              <a:gd name="connsiteX105" fmla="*/ 526001 w 4026025"/>
              <a:gd name="connsiteY105" fmla="*/ 1552845 h 1720686"/>
              <a:gd name="connsiteX106" fmla="*/ 513331 w 4026025"/>
              <a:gd name="connsiteY106" fmla="*/ 1548312 h 1720686"/>
              <a:gd name="connsiteX107" fmla="*/ 429648 w 4026025"/>
              <a:gd name="connsiteY107" fmla="*/ 1548312 h 1720686"/>
              <a:gd name="connsiteX108" fmla="*/ 409741 w 4026025"/>
              <a:gd name="connsiteY108" fmla="*/ 1568164 h 1720686"/>
              <a:gd name="connsiteX109" fmla="*/ 429648 w 4026025"/>
              <a:gd name="connsiteY109" fmla="*/ 1588017 h 1720686"/>
              <a:gd name="connsiteX110" fmla="*/ 449555 w 4026025"/>
              <a:gd name="connsiteY110" fmla="*/ 1588017 h 1720686"/>
              <a:gd name="connsiteX111" fmla="*/ 449555 w 4026025"/>
              <a:gd name="connsiteY111" fmla="*/ 1568164 h 1720686"/>
              <a:gd name="connsiteX112" fmla="*/ 429648 w 4026025"/>
              <a:gd name="connsiteY112" fmla="*/ 1548312 h 1720686"/>
              <a:gd name="connsiteX113" fmla="*/ 926061 w 4026025"/>
              <a:gd name="connsiteY113" fmla="*/ 1548296 h 1720686"/>
              <a:gd name="connsiteX114" fmla="*/ 923812 w 4026025"/>
              <a:gd name="connsiteY114" fmla="*/ 1550539 h 1720686"/>
              <a:gd name="connsiteX115" fmla="*/ 923812 w 4026025"/>
              <a:gd name="connsiteY115" fmla="*/ 1585774 h 1720686"/>
              <a:gd name="connsiteX116" fmla="*/ 926061 w 4026025"/>
              <a:gd name="connsiteY116" fmla="*/ 1588016 h 1720686"/>
              <a:gd name="connsiteX117" fmla="*/ 928294 w 4026025"/>
              <a:gd name="connsiteY117" fmla="*/ 1585774 h 1720686"/>
              <a:gd name="connsiteX118" fmla="*/ 928294 w 4026025"/>
              <a:gd name="connsiteY118" fmla="*/ 1550539 h 1720686"/>
              <a:gd name="connsiteX119" fmla="*/ 926061 w 4026025"/>
              <a:gd name="connsiteY119" fmla="*/ 1548296 h 1720686"/>
              <a:gd name="connsiteX120" fmla="*/ 539732 w 4026025"/>
              <a:gd name="connsiteY120" fmla="*/ 1548296 h 1720686"/>
              <a:gd name="connsiteX121" fmla="*/ 537483 w 4026025"/>
              <a:gd name="connsiteY121" fmla="*/ 1550539 h 1720686"/>
              <a:gd name="connsiteX122" fmla="*/ 537483 w 4026025"/>
              <a:gd name="connsiteY122" fmla="*/ 1585774 h 1720686"/>
              <a:gd name="connsiteX123" fmla="*/ 539732 w 4026025"/>
              <a:gd name="connsiteY123" fmla="*/ 1588016 h 1720686"/>
              <a:gd name="connsiteX124" fmla="*/ 541981 w 4026025"/>
              <a:gd name="connsiteY124" fmla="*/ 1585774 h 1720686"/>
              <a:gd name="connsiteX125" fmla="*/ 541981 w 4026025"/>
              <a:gd name="connsiteY125" fmla="*/ 1550539 h 1720686"/>
              <a:gd name="connsiteX126" fmla="*/ 539732 w 4026025"/>
              <a:gd name="connsiteY126" fmla="*/ 1548296 h 1720686"/>
              <a:gd name="connsiteX127" fmla="*/ 371986 w 4026025"/>
              <a:gd name="connsiteY127" fmla="*/ 1548296 h 1720686"/>
              <a:gd name="connsiteX128" fmla="*/ 369737 w 4026025"/>
              <a:gd name="connsiteY128" fmla="*/ 1550539 h 1720686"/>
              <a:gd name="connsiteX129" fmla="*/ 369737 w 4026025"/>
              <a:gd name="connsiteY129" fmla="*/ 1585774 h 1720686"/>
              <a:gd name="connsiteX130" fmla="*/ 371986 w 4026025"/>
              <a:gd name="connsiteY130" fmla="*/ 1588016 h 1720686"/>
              <a:gd name="connsiteX131" fmla="*/ 374235 w 4026025"/>
              <a:gd name="connsiteY131" fmla="*/ 1585774 h 1720686"/>
              <a:gd name="connsiteX132" fmla="*/ 374235 w 4026025"/>
              <a:gd name="connsiteY132" fmla="*/ 1550539 h 1720686"/>
              <a:gd name="connsiteX133" fmla="*/ 371986 w 4026025"/>
              <a:gd name="connsiteY133" fmla="*/ 1548296 h 1720686"/>
              <a:gd name="connsiteX134" fmla="*/ 340882 w 4026025"/>
              <a:gd name="connsiteY134" fmla="*/ 1548296 h 1720686"/>
              <a:gd name="connsiteX135" fmla="*/ 320976 w 4026025"/>
              <a:gd name="connsiteY135" fmla="*/ 1568148 h 1720686"/>
              <a:gd name="connsiteX136" fmla="*/ 340882 w 4026025"/>
              <a:gd name="connsiteY136" fmla="*/ 1588001 h 1720686"/>
              <a:gd name="connsiteX137" fmla="*/ 356292 w 4026025"/>
              <a:gd name="connsiteY137" fmla="*/ 1580704 h 1720686"/>
              <a:gd name="connsiteX138" fmla="*/ 356292 w 4026025"/>
              <a:gd name="connsiteY138" fmla="*/ 1585774 h 1720686"/>
              <a:gd name="connsiteX139" fmla="*/ 340882 w 4026025"/>
              <a:gd name="connsiteY139" fmla="*/ 1601141 h 1720686"/>
              <a:gd name="connsiteX140" fmla="*/ 326709 w 4026025"/>
              <a:gd name="connsiteY140" fmla="*/ 1591838 h 1720686"/>
              <a:gd name="connsiteX141" fmla="*/ 323746 w 4026025"/>
              <a:gd name="connsiteY141" fmla="*/ 1590670 h 1720686"/>
              <a:gd name="connsiteX142" fmla="*/ 322576 w 4026025"/>
              <a:gd name="connsiteY142" fmla="*/ 1593623 h 1720686"/>
              <a:gd name="connsiteX143" fmla="*/ 340882 w 4026025"/>
              <a:gd name="connsiteY143" fmla="*/ 1605642 h 1720686"/>
              <a:gd name="connsiteX144" fmla="*/ 360789 w 4026025"/>
              <a:gd name="connsiteY144" fmla="*/ 1585790 h 1720686"/>
              <a:gd name="connsiteX145" fmla="*/ 360789 w 4026025"/>
              <a:gd name="connsiteY145" fmla="*/ 1568164 h 1720686"/>
              <a:gd name="connsiteX146" fmla="*/ 340882 w 4026025"/>
              <a:gd name="connsiteY146" fmla="*/ 1548312 h 1720686"/>
              <a:gd name="connsiteX147" fmla="*/ 309477 w 4026025"/>
              <a:gd name="connsiteY147" fmla="*/ 1548296 h 1720686"/>
              <a:gd name="connsiteX148" fmla="*/ 307244 w 4026025"/>
              <a:gd name="connsiteY148" fmla="*/ 1550539 h 1720686"/>
              <a:gd name="connsiteX149" fmla="*/ 307244 w 4026025"/>
              <a:gd name="connsiteY149" fmla="*/ 1585774 h 1720686"/>
              <a:gd name="connsiteX150" fmla="*/ 309477 w 4026025"/>
              <a:gd name="connsiteY150" fmla="*/ 1588016 h 1720686"/>
              <a:gd name="connsiteX151" fmla="*/ 311726 w 4026025"/>
              <a:gd name="connsiteY151" fmla="*/ 1585774 h 1720686"/>
              <a:gd name="connsiteX152" fmla="*/ 311726 w 4026025"/>
              <a:gd name="connsiteY152" fmla="*/ 1550539 h 1720686"/>
              <a:gd name="connsiteX153" fmla="*/ 309477 w 4026025"/>
              <a:gd name="connsiteY153" fmla="*/ 1548296 h 1720686"/>
              <a:gd name="connsiteX154" fmla="*/ 782402 w 4026025"/>
              <a:gd name="connsiteY154" fmla="*/ 1548280 h 1720686"/>
              <a:gd name="connsiteX155" fmla="*/ 771443 w 4026025"/>
              <a:gd name="connsiteY155" fmla="*/ 1552844 h 1720686"/>
              <a:gd name="connsiteX156" fmla="*/ 771443 w 4026025"/>
              <a:gd name="connsiteY156" fmla="*/ 1550570 h 1720686"/>
              <a:gd name="connsiteX157" fmla="*/ 769194 w 4026025"/>
              <a:gd name="connsiteY157" fmla="*/ 1548327 h 1720686"/>
              <a:gd name="connsiteX158" fmla="*/ 766945 w 4026025"/>
              <a:gd name="connsiteY158" fmla="*/ 1548327 h 1720686"/>
              <a:gd name="connsiteX159" fmla="*/ 766945 w 4026025"/>
              <a:gd name="connsiteY159" fmla="*/ 1550570 h 1720686"/>
              <a:gd name="connsiteX160" fmla="*/ 766945 w 4026025"/>
              <a:gd name="connsiteY160" fmla="*/ 1585774 h 1720686"/>
              <a:gd name="connsiteX161" fmla="*/ 769194 w 4026025"/>
              <a:gd name="connsiteY161" fmla="*/ 1588016 h 1720686"/>
              <a:gd name="connsiteX162" fmla="*/ 771443 w 4026025"/>
              <a:gd name="connsiteY162" fmla="*/ 1585774 h 1720686"/>
              <a:gd name="connsiteX163" fmla="*/ 771443 w 4026025"/>
              <a:gd name="connsiteY163" fmla="*/ 1563710 h 1720686"/>
              <a:gd name="connsiteX164" fmla="*/ 782402 w 4026025"/>
              <a:gd name="connsiteY164" fmla="*/ 1552781 h 1720686"/>
              <a:gd name="connsiteX165" fmla="*/ 793361 w 4026025"/>
              <a:gd name="connsiteY165" fmla="*/ 1563710 h 1720686"/>
              <a:gd name="connsiteX166" fmla="*/ 793361 w 4026025"/>
              <a:gd name="connsiteY166" fmla="*/ 1585774 h 1720686"/>
              <a:gd name="connsiteX167" fmla="*/ 795610 w 4026025"/>
              <a:gd name="connsiteY167" fmla="*/ 1588016 h 1720686"/>
              <a:gd name="connsiteX168" fmla="*/ 797859 w 4026025"/>
              <a:gd name="connsiteY168" fmla="*/ 1585774 h 1720686"/>
              <a:gd name="connsiteX169" fmla="*/ 797859 w 4026025"/>
              <a:gd name="connsiteY169" fmla="*/ 1563710 h 1720686"/>
              <a:gd name="connsiteX170" fmla="*/ 808818 w 4026025"/>
              <a:gd name="connsiteY170" fmla="*/ 1552781 h 1720686"/>
              <a:gd name="connsiteX171" fmla="*/ 819777 w 4026025"/>
              <a:gd name="connsiteY171" fmla="*/ 1563710 h 1720686"/>
              <a:gd name="connsiteX172" fmla="*/ 819777 w 4026025"/>
              <a:gd name="connsiteY172" fmla="*/ 1585774 h 1720686"/>
              <a:gd name="connsiteX173" fmla="*/ 822026 w 4026025"/>
              <a:gd name="connsiteY173" fmla="*/ 1588016 h 1720686"/>
              <a:gd name="connsiteX174" fmla="*/ 824275 w 4026025"/>
              <a:gd name="connsiteY174" fmla="*/ 1585774 h 1720686"/>
              <a:gd name="connsiteX175" fmla="*/ 824275 w 4026025"/>
              <a:gd name="connsiteY175" fmla="*/ 1563710 h 1720686"/>
              <a:gd name="connsiteX176" fmla="*/ 819742 w 4026025"/>
              <a:gd name="connsiteY176" fmla="*/ 1552809 h 1720686"/>
              <a:gd name="connsiteX177" fmla="*/ 808827 w 4026025"/>
              <a:gd name="connsiteY177" fmla="*/ 1548284 h 1720686"/>
              <a:gd name="connsiteX178" fmla="*/ 808834 w 4026025"/>
              <a:gd name="connsiteY178" fmla="*/ 1548280 h 1720686"/>
              <a:gd name="connsiteX179" fmla="*/ 808818 w 4026025"/>
              <a:gd name="connsiteY179" fmla="*/ 1548280 h 1720686"/>
              <a:gd name="connsiteX180" fmla="*/ 808827 w 4026025"/>
              <a:gd name="connsiteY180" fmla="*/ 1548284 h 1720686"/>
              <a:gd name="connsiteX181" fmla="*/ 795626 w 4026025"/>
              <a:gd name="connsiteY181" fmla="*/ 1555734 h 1720686"/>
              <a:gd name="connsiteX182" fmla="*/ 782402 w 4026025"/>
              <a:gd name="connsiteY182" fmla="*/ 1548280 h 1720686"/>
              <a:gd name="connsiteX183" fmla="*/ 653077 w 4026025"/>
              <a:gd name="connsiteY183" fmla="*/ 1548280 h 1720686"/>
              <a:gd name="connsiteX184" fmla="*/ 642118 w 4026025"/>
              <a:gd name="connsiteY184" fmla="*/ 1552844 h 1720686"/>
              <a:gd name="connsiteX185" fmla="*/ 642118 w 4026025"/>
              <a:gd name="connsiteY185" fmla="*/ 1550570 h 1720686"/>
              <a:gd name="connsiteX186" fmla="*/ 639869 w 4026025"/>
              <a:gd name="connsiteY186" fmla="*/ 1548327 h 1720686"/>
              <a:gd name="connsiteX187" fmla="*/ 637620 w 4026025"/>
              <a:gd name="connsiteY187" fmla="*/ 1548327 h 1720686"/>
              <a:gd name="connsiteX188" fmla="*/ 637620 w 4026025"/>
              <a:gd name="connsiteY188" fmla="*/ 1550570 h 1720686"/>
              <a:gd name="connsiteX189" fmla="*/ 637620 w 4026025"/>
              <a:gd name="connsiteY189" fmla="*/ 1585774 h 1720686"/>
              <a:gd name="connsiteX190" fmla="*/ 639869 w 4026025"/>
              <a:gd name="connsiteY190" fmla="*/ 1588016 h 1720686"/>
              <a:gd name="connsiteX191" fmla="*/ 642118 w 4026025"/>
              <a:gd name="connsiteY191" fmla="*/ 1585774 h 1720686"/>
              <a:gd name="connsiteX192" fmla="*/ 642118 w 4026025"/>
              <a:gd name="connsiteY192" fmla="*/ 1563710 h 1720686"/>
              <a:gd name="connsiteX193" fmla="*/ 653077 w 4026025"/>
              <a:gd name="connsiteY193" fmla="*/ 1552781 h 1720686"/>
              <a:gd name="connsiteX194" fmla="*/ 664036 w 4026025"/>
              <a:gd name="connsiteY194" fmla="*/ 1563710 h 1720686"/>
              <a:gd name="connsiteX195" fmla="*/ 664036 w 4026025"/>
              <a:gd name="connsiteY195" fmla="*/ 1585774 h 1720686"/>
              <a:gd name="connsiteX196" fmla="*/ 666285 w 4026025"/>
              <a:gd name="connsiteY196" fmla="*/ 1588016 h 1720686"/>
              <a:gd name="connsiteX197" fmla="*/ 668534 w 4026025"/>
              <a:gd name="connsiteY197" fmla="*/ 1585774 h 1720686"/>
              <a:gd name="connsiteX198" fmla="*/ 668534 w 4026025"/>
              <a:gd name="connsiteY198" fmla="*/ 1563710 h 1720686"/>
              <a:gd name="connsiteX199" fmla="*/ 679493 w 4026025"/>
              <a:gd name="connsiteY199" fmla="*/ 1552781 h 1720686"/>
              <a:gd name="connsiteX200" fmla="*/ 690452 w 4026025"/>
              <a:gd name="connsiteY200" fmla="*/ 1563710 h 1720686"/>
              <a:gd name="connsiteX201" fmla="*/ 690452 w 4026025"/>
              <a:gd name="connsiteY201" fmla="*/ 1585774 h 1720686"/>
              <a:gd name="connsiteX202" fmla="*/ 692717 w 4026025"/>
              <a:gd name="connsiteY202" fmla="*/ 1588016 h 1720686"/>
              <a:gd name="connsiteX203" fmla="*/ 694950 w 4026025"/>
              <a:gd name="connsiteY203" fmla="*/ 1585774 h 1720686"/>
              <a:gd name="connsiteX204" fmla="*/ 694950 w 4026025"/>
              <a:gd name="connsiteY204" fmla="*/ 1563710 h 1720686"/>
              <a:gd name="connsiteX205" fmla="*/ 679493 w 4026025"/>
              <a:gd name="connsiteY205" fmla="*/ 1548280 h 1720686"/>
              <a:gd name="connsiteX206" fmla="*/ 666285 w 4026025"/>
              <a:gd name="connsiteY206" fmla="*/ 1555734 h 1720686"/>
              <a:gd name="connsiteX207" fmla="*/ 653077 w 4026025"/>
              <a:gd name="connsiteY207" fmla="*/ 1548280 h 1720686"/>
              <a:gd name="connsiteX208" fmla="*/ 923811 w 4026025"/>
              <a:gd name="connsiteY208" fmla="*/ 1536261 h 1720686"/>
              <a:gd name="connsiteX209" fmla="*/ 923811 w 4026025"/>
              <a:gd name="connsiteY209" fmla="*/ 1538504 h 1720686"/>
              <a:gd name="connsiteX210" fmla="*/ 926060 w 4026025"/>
              <a:gd name="connsiteY210" fmla="*/ 1540746 h 1720686"/>
              <a:gd name="connsiteX211" fmla="*/ 928293 w 4026025"/>
              <a:gd name="connsiteY211" fmla="*/ 1538504 h 1720686"/>
              <a:gd name="connsiteX212" fmla="*/ 926060 w 4026025"/>
              <a:gd name="connsiteY212" fmla="*/ 1536261 h 1720686"/>
              <a:gd name="connsiteX213" fmla="*/ 537482 w 4026025"/>
              <a:gd name="connsiteY213" fmla="*/ 1536261 h 1720686"/>
              <a:gd name="connsiteX214" fmla="*/ 537482 w 4026025"/>
              <a:gd name="connsiteY214" fmla="*/ 1538504 h 1720686"/>
              <a:gd name="connsiteX215" fmla="*/ 539731 w 4026025"/>
              <a:gd name="connsiteY215" fmla="*/ 1540746 h 1720686"/>
              <a:gd name="connsiteX216" fmla="*/ 541980 w 4026025"/>
              <a:gd name="connsiteY216" fmla="*/ 1538504 h 1720686"/>
              <a:gd name="connsiteX217" fmla="*/ 539731 w 4026025"/>
              <a:gd name="connsiteY217" fmla="*/ 1536261 h 1720686"/>
              <a:gd name="connsiteX218" fmla="*/ 369736 w 4026025"/>
              <a:gd name="connsiteY218" fmla="*/ 1536261 h 1720686"/>
              <a:gd name="connsiteX219" fmla="*/ 369736 w 4026025"/>
              <a:gd name="connsiteY219" fmla="*/ 1538504 h 1720686"/>
              <a:gd name="connsiteX220" fmla="*/ 371985 w 4026025"/>
              <a:gd name="connsiteY220" fmla="*/ 1540746 h 1720686"/>
              <a:gd name="connsiteX221" fmla="*/ 374234 w 4026025"/>
              <a:gd name="connsiteY221" fmla="*/ 1538504 h 1720686"/>
              <a:gd name="connsiteX222" fmla="*/ 371985 w 4026025"/>
              <a:gd name="connsiteY222" fmla="*/ 1536261 h 1720686"/>
              <a:gd name="connsiteX223" fmla="*/ 307227 w 4026025"/>
              <a:gd name="connsiteY223" fmla="*/ 1536261 h 1720686"/>
              <a:gd name="connsiteX224" fmla="*/ 307227 w 4026025"/>
              <a:gd name="connsiteY224" fmla="*/ 1538504 h 1720686"/>
              <a:gd name="connsiteX225" fmla="*/ 309476 w 4026025"/>
              <a:gd name="connsiteY225" fmla="*/ 1540746 h 1720686"/>
              <a:gd name="connsiteX226" fmla="*/ 311709 w 4026025"/>
              <a:gd name="connsiteY226" fmla="*/ 1538504 h 1720686"/>
              <a:gd name="connsiteX227" fmla="*/ 309476 w 4026025"/>
              <a:gd name="connsiteY227" fmla="*/ 1536261 h 1720686"/>
              <a:gd name="connsiteX228" fmla="*/ 912710 w 4026025"/>
              <a:gd name="connsiteY228" fmla="*/ 1531507 h 1720686"/>
              <a:gd name="connsiteX229" fmla="*/ 910461 w 4026025"/>
              <a:gd name="connsiteY229" fmla="*/ 1533750 h 1720686"/>
              <a:gd name="connsiteX230" fmla="*/ 910461 w 4026025"/>
              <a:gd name="connsiteY230" fmla="*/ 1555608 h 1720686"/>
              <a:gd name="connsiteX231" fmla="*/ 895036 w 4026025"/>
              <a:gd name="connsiteY231" fmla="*/ 1548311 h 1720686"/>
              <a:gd name="connsiteX232" fmla="*/ 875129 w 4026025"/>
              <a:gd name="connsiteY232" fmla="*/ 1568164 h 1720686"/>
              <a:gd name="connsiteX233" fmla="*/ 895036 w 4026025"/>
              <a:gd name="connsiteY233" fmla="*/ 1588016 h 1720686"/>
              <a:gd name="connsiteX234" fmla="*/ 914959 w 4026025"/>
              <a:gd name="connsiteY234" fmla="*/ 1588016 h 1720686"/>
              <a:gd name="connsiteX235" fmla="*/ 914959 w 4026025"/>
              <a:gd name="connsiteY235" fmla="*/ 1533750 h 1720686"/>
              <a:gd name="connsiteX236" fmla="*/ 912710 w 4026025"/>
              <a:gd name="connsiteY236" fmla="*/ 1531507 h 1720686"/>
              <a:gd name="connsiteX237" fmla="*/ 457696 w 4026025"/>
              <a:gd name="connsiteY237" fmla="*/ 1531507 h 1720686"/>
              <a:gd name="connsiteX238" fmla="*/ 455447 w 4026025"/>
              <a:gd name="connsiteY238" fmla="*/ 1533750 h 1720686"/>
              <a:gd name="connsiteX239" fmla="*/ 455447 w 4026025"/>
              <a:gd name="connsiteY239" fmla="*/ 1582346 h 1720686"/>
              <a:gd name="connsiteX240" fmla="*/ 461131 w 4026025"/>
              <a:gd name="connsiteY240" fmla="*/ 1588016 h 1720686"/>
              <a:gd name="connsiteX241" fmla="*/ 463381 w 4026025"/>
              <a:gd name="connsiteY241" fmla="*/ 1585773 h 1720686"/>
              <a:gd name="connsiteX242" fmla="*/ 461131 w 4026025"/>
              <a:gd name="connsiteY242" fmla="*/ 1583531 h 1720686"/>
              <a:gd name="connsiteX243" fmla="*/ 459945 w 4026025"/>
              <a:gd name="connsiteY243" fmla="*/ 1582346 h 1720686"/>
              <a:gd name="connsiteX244" fmla="*/ 459945 w 4026025"/>
              <a:gd name="connsiteY244" fmla="*/ 1533750 h 1720686"/>
              <a:gd name="connsiteX245" fmla="*/ 457696 w 4026025"/>
              <a:gd name="connsiteY245" fmla="*/ 1531507 h 1720686"/>
              <a:gd name="connsiteX246" fmla="*/ 391623 w 4026025"/>
              <a:gd name="connsiteY246" fmla="*/ 1531492 h 1720686"/>
              <a:gd name="connsiteX247" fmla="*/ 389374 w 4026025"/>
              <a:gd name="connsiteY247" fmla="*/ 1533735 h 1720686"/>
              <a:gd name="connsiteX248" fmla="*/ 389374 w 4026025"/>
              <a:gd name="connsiteY248" fmla="*/ 1548296 h 1720686"/>
              <a:gd name="connsiteX249" fmla="*/ 385606 w 4026025"/>
              <a:gd name="connsiteY249" fmla="*/ 1548296 h 1720686"/>
              <a:gd name="connsiteX250" fmla="*/ 383356 w 4026025"/>
              <a:gd name="connsiteY250" fmla="*/ 1550539 h 1720686"/>
              <a:gd name="connsiteX251" fmla="*/ 385606 w 4026025"/>
              <a:gd name="connsiteY251" fmla="*/ 1552782 h 1720686"/>
              <a:gd name="connsiteX252" fmla="*/ 389374 w 4026025"/>
              <a:gd name="connsiteY252" fmla="*/ 1552782 h 1720686"/>
              <a:gd name="connsiteX253" fmla="*/ 389374 w 4026025"/>
              <a:gd name="connsiteY253" fmla="*/ 1576093 h 1720686"/>
              <a:gd name="connsiteX254" fmla="*/ 401315 w 4026025"/>
              <a:gd name="connsiteY254" fmla="*/ 1588001 h 1720686"/>
              <a:gd name="connsiteX255" fmla="*/ 403976 w 4026025"/>
              <a:gd name="connsiteY255" fmla="*/ 1587701 h 1720686"/>
              <a:gd name="connsiteX256" fmla="*/ 405663 w 4026025"/>
              <a:gd name="connsiteY256" fmla="*/ 1585028 h 1720686"/>
              <a:gd name="connsiteX257" fmla="*/ 405670 w 4026025"/>
              <a:gd name="connsiteY257" fmla="*/ 1585032 h 1720686"/>
              <a:gd name="connsiteX258" fmla="*/ 405670 w 4026025"/>
              <a:gd name="connsiteY258" fmla="*/ 1585016 h 1720686"/>
              <a:gd name="connsiteX259" fmla="*/ 405663 w 4026025"/>
              <a:gd name="connsiteY259" fmla="*/ 1585028 h 1720686"/>
              <a:gd name="connsiteX260" fmla="*/ 402978 w 4026025"/>
              <a:gd name="connsiteY260" fmla="*/ 1583342 h 1720686"/>
              <a:gd name="connsiteX261" fmla="*/ 401315 w 4026025"/>
              <a:gd name="connsiteY261" fmla="*/ 1583531 h 1720686"/>
              <a:gd name="connsiteX262" fmla="*/ 393873 w 4026025"/>
              <a:gd name="connsiteY262" fmla="*/ 1576093 h 1720686"/>
              <a:gd name="connsiteX263" fmla="*/ 393873 w 4026025"/>
              <a:gd name="connsiteY263" fmla="*/ 1552782 h 1720686"/>
              <a:gd name="connsiteX264" fmla="*/ 400207 w 4026025"/>
              <a:gd name="connsiteY264" fmla="*/ 1552782 h 1720686"/>
              <a:gd name="connsiteX265" fmla="*/ 402456 w 4026025"/>
              <a:gd name="connsiteY265" fmla="*/ 1550539 h 1720686"/>
              <a:gd name="connsiteX266" fmla="*/ 400207 w 4026025"/>
              <a:gd name="connsiteY266" fmla="*/ 1548296 h 1720686"/>
              <a:gd name="connsiteX267" fmla="*/ 393873 w 4026025"/>
              <a:gd name="connsiteY267" fmla="*/ 1548296 h 1720686"/>
              <a:gd name="connsiteX268" fmla="*/ 393873 w 4026025"/>
              <a:gd name="connsiteY268" fmla="*/ 1533735 h 1720686"/>
              <a:gd name="connsiteX269" fmla="*/ 391623 w 4026025"/>
              <a:gd name="connsiteY269" fmla="*/ 1531492 h 1720686"/>
              <a:gd name="connsiteX270" fmla="*/ 296175 w 4026025"/>
              <a:gd name="connsiteY270" fmla="*/ 1531492 h 1720686"/>
              <a:gd name="connsiteX271" fmla="*/ 293927 w 4026025"/>
              <a:gd name="connsiteY271" fmla="*/ 1533735 h 1720686"/>
              <a:gd name="connsiteX272" fmla="*/ 293927 w 4026025"/>
              <a:gd name="connsiteY272" fmla="*/ 1555593 h 1720686"/>
              <a:gd name="connsiteX273" fmla="*/ 278517 w 4026025"/>
              <a:gd name="connsiteY273" fmla="*/ 1548296 h 1720686"/>
              <a:gd name="connsiteX274" fmla="*/ 258609 w 4026025"/>
              <a:gd name="connsiteY274" fmla="*/ 1568149 h 1720686"/>
              <a:gd name="connsiteX275" fmla="*/ 278517 w 4026025"/>
              <a:gd name="connsiteY275" fmla="*/ 1588017 h 1720686"/>
              <a:gd name="connsiteX276" fmla="*/ 298424 w 4026025"/>
              <a:gd name="connsiteY276" fmla="*/ 1588017 h 1720686"/>
              <a:gd name="connsiteX277" fmla="*/ 298424 w 4026025"/>
              <a:gd name="connsiteY277" fmla="*/ 1588001 h 1720686"/>
              <a:gd name="connsiteX278" fmla="*/ 298424 w 4026025"/>
              <a:gd name="connsiteY278" fmla="*/ 1533735 h 1720686"/>
              <a:gd name="connsiteX279" fmla="*/ 296175 w 4026025"/>
              <a:gd name="connsiteY279" fmla="*/ 1531492 h 1720686"/>
              <a:gd name="connsiteX280" fmla="*/ 533786 w 4026025"/>
              <a:gd name="connsiteY280" fmla="*/ 1426621 h 1720686"/>
              <a:gd name="connsiteX281" fmla="*/ 533794 w 4026025"/>
              <a:gd name="connsiteY281" fmla="*/ 1426640 h 1720686"/>
              <a:gd name="connsiteX282" fmla="*/ 533786 w 4026025"/>
              <a:gd name="connsiteY282" fmla="*/ 1426660 h 1720686"/>
              <a:gd name="connsiteX283" fmla="*/ 533778 w 4026025"/>
              <a:gd name="connsiteY283" fmla="*/ 1426640 h 1720686"/>
              <a:gd name="connsiteX284" fmla="*/ 258609 w 4026025"/>
              <a:gd name="connsiteY284" fmla="*/ 1356738 h 1720686"/>
              <a:gd name="connsiteX285" fmla="*/ 258609 w 4026025"/>
              <a:gd name="connsiteY285" fmla="*/ 1426640 h 1720686"/>
              <a:gd name="connsiteX286" fmla="*/ 327405 w 4026025"/>
              <a:gd name="connsiteY286" fmla="*/ 1496557 h 1720686"/>
              <a:gd name="connsiteX287" fmla="*/ 396201 w 4026025"/>
              <a:gd name="connsiteY287" fmla="*/ 1426640 h 1720686"/>
              <a:gd name="connsiteX288" fmla="*/ 464997 w 4026025"/>
              <a:gd name="connsiteY288" fmla="*/ 1496557 h 1720686"/>
              <a:gd name="connsiteX289" fmla="*/ 513643 w 4026025"/>
              <a:gd name="connsiteY289" fmla="*/ 1476085 h 1720686"/>
              <a:gd name="connsiteX290" fmla="*/ 533786 w 4026025"/>
              <a:gd name="connsiteY290" fmla="*/ 1426660 h 1720686"/>
              <a:gd name="connsiteX291" fmla="*/ 553923 w 4026025"/>
              <a:gd name="connsiteY291" fmla="*/ 1476079 h 1720686"/>
              <a:gd name="connsiteX292" fmla="*/ 602574 w 4026025"/>
              <a:gd name="connsiteY292" fmla="*/ 1496557 h 1720686"/>
              <a:gd name="connsiteX293" fmla="*/ 636972 w 4026025"/>
              <a:gd name="connsiteY293" fmla="*/ 1487192 h 1720686"/>
              <a:gd name="connsiteX294" fmla="*/ 671370 w 4026025"/>
              <a:gd name="connsiteY294" fmla="*/ 1496557 h 1720686"/>
              <a:gd name="connsiteX295" fmla="*/ 740166 w 4026025"/>
              <a:gd name="connsiteY295" fmla="*/ 1426640 h 1720686"/>
              <a:gd name="connsiteX296" fmla="*/ 671386 w 4026025"/>
              <a:gd name="connsiteY296" fmla="*/ 1356738 h 1720686"/>
              <a:gd name="connsiteX297" fmla="*/ 636988 w 4026025"/>
              <a:gd name="connsiteY297" fmla="*/ 1366088 h 1720686"/>
              <a:gd name="connsiteX298" fmla="*/ 636972 w 4026025"/>
              <a:gd name="connsiteY298" fmla="*/ 1366088 h 1720686"/>
              <a:gd name="connsiteX299" fmla="*/ 602574 w 4026025"/>
              <a:gd name="connsiteY299" fmla="*/ 1356738 h 1720686"/>
              <a:gd name="connsiteX300" fmla="*/ 553923 w 4026025"/>
              <a:gd name="connsiteY300" fmla="*/ 1377209 h 1720686"/>
              <a:gd name="connsiteX301" fmla="*/ 533786 w 4026025"/>
              <a:gd name="connsiteY301" fmla="*/ 1426621 h 1720686"/>
              <a:gd name="connsiteX302" fmla="*/ 513638 w 4026025"/>
              <a:gd name="connsiteY302" fmla="*/ 1377203 h 1720686"/>
              <a:gd name="connsiteX303" fmla="*/ 464997 w 4026025"/>
              <a:gd name="connsiteY303" fmla="*/ 1356738 h 1720686"/>
              <a:gd name="connsiteX304" fmla="*/ 396201 w 4026025"/>
              <a:gd name="connsiteY304" fmla="*/ 1426640 h 1720686"/>
              <a:gd name="connsiteX305" fmla="*/ 327405 w 4026025"/>
              <a:gd name="connsiteY305" fmla="*/ 1356738 h 1720686"/>
              <a:gd name="connsiteX306" fmla="*/ 0 w 4026025"/>
              <a:gd name="connsiteY306" fmla="*/ 0 h 1720686"/>
              <a:gd name="connsiteX307" fmla="*/ 4026025 w 4026025"/>
              <a:gd name="connsiteY307" fmla="*/ 0 h 1720686"/>
              <a:gd name="connsiteX308" fmla="*/ 4026025 w 4026025"/>
              <a:gd name="connsiteY308" fmla="*/ 1720686 h 1720686"/>
              <a:gd name="connsiteX309" fmla="*/ 0 w 4026025"/>
              <a:gd name="connsiteY309" fmla="*/ 1720686 h 172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026025" h="1720686">
                <a:moveTo>
                  <a:pt x="956975" y="1552782"/>
                </a:moveTo>
                <a:cubicBezTo>
                  <a:pt x="965480" y="1552782"/>
                  <a:pt x="972400" y="1559683"/>
                  <a:pt x="972400" y="1568149"/>
                </a:cubicBezTo>
                <a:lnTo>
                  <a:pt x="972400" y="1583531"/>
                </a:lnTo>
                <a:lnTo>
                  <a:pt x="956975" y="1583531"/>
                </a:lnTo>
                <a:cubicBezTo>
                  <a:pt x="948486" y="1583531"/>
                  <a:pt x="941566" y="1576614"/>
                  <a:pt x="941566" y="1568149"/>
                </a:cubicBezTo>
                <a:cubicBezTo>
                  <a:pt x="941566" y="1559683"/>
                  <a:pt x="948471" y="1552782"/>
                  <a:pt x="956975" y="1552782"/>
                </a:cubicBezTo>
                <a:close/>
                <a:moveTo>
                  <a:pt x="849077" y="1552782"/>
                </a:moveTo>
                <a:cubicBezTo>
                  <a:pt x="856806" y="1552782"/>
                  <a:pt x="863236" y="1558499"/>
                  <a:pt x="864328" y="1565906"/>
                </a:cubicBezTo>
                <a:lnTo>
                  <a:pt x="833826" y="1565906"/>
                </a:lnTo>
                <a:cubicBezTo>
                  <a:pt x="834919" y="1558499"/>
                  <a:pt x="841349" y="1552782"/>
                  <a:pt x="849077" y="1552782"/>
                </a:cubicBezTo>
                <a:close/>
                <a:moveTo>
                  <a:pt x="720496" y="1552782"/>
                </a:moveTo>
                <a:cubicBezTo>
                  <a:pt x="729001" y="1552782"/>
                  <a:pt x="735922" y="1559683"/>
                  <a:pt x="735922" y="1568149"/>
                </a:cubicBezTo>
                <a:lnTo>
                  <a:pt x="735922" y="1583531"/>
                </a:lnTo>
                <a:lnTo>
                  <a:pt x="720496" y="1583531"/>
                </a:lnTo>
                <a:cubicBezTo>
                  <a:pt x="712008" y="1583531"/>
                  <a:pt x="705087" y="1576614"/>
                  <a:pt x="705087" y="1568149"/>
                </a:cubicBezTo>
                <a:cubicBezTo>
                  <a:pt x="705087" y="1559683"/>
                  <a:pt x="712008" y="1552782"/>
                  <a:pt x="720496" y="1552782"/>
                </a:cubicBezTo>
                <a:close/>
                <a:moveTo>
                  <a:pt x="612646" y="1552782"/>
                </a:moveTo>
                <a:cubicBezTo>
                  <a:pt x="620375" y="1552782"/>
                  <a:pt x="626805" y="1558499"/>
                  <a:pt x="627897" y="1565906"/>
                </a:cubicBezTo>
                <a:lnTo>
                  <a:pt x="597395" y="1565906"/>
                </a:lnTo>
                <a:cubicBezTo>
                  <a:pt x="598472" y="1558499"/>
                  <a:pt x="604918" y="1552782"/>
                  <a:pt x="612646" y="1552782"/>
                </a:cubicBezTo>
                <a:close/>
                <a:moveTo>
                  <a:pt x="429632" y="1552782"/>
                </a:moveTo>
                <a:cubicBezTo>
                  <a:pt x="438137" y="1552782"/>
                  <a:pt x="445042" y="1559683"/>
                  <a:pt x="445042" y="1568149"/>
                </a:cubicBezTo>
                <a:lnTo>
                  <a:pt x="445042" y="1583531"/>
                </a:lnTo>
                <a:lnTo>
                  <a:pt x="429632" y="1583531"/>
                </a:lnTo>
                <a:cubicBezTo>
                  <a:pt x="421128" y="1583531"/>
                  <a:pt x="414223" y="1576614"/>
                  <a:pt x="414223" y="1568149"/>
                </a:cubicBezTo>
                <a:cubicBezTo>
                  <a:pt x="414223" y="1559683"/>
                  <a:pt x="421128" y="1552782"/>
                  <a:pt x="429632" y="1552782"/>
                </a:cubicBezTo>
                <a:close/>
                <a:moveTo>
                  <a:pt x="278517" y="1552782"/>
                </a:moveTo>
                <a:cubicBezTo>
                  <a:pt x="287005" y="1552782"/>
                  <a:pt x="293927" y="1559683"/>
                  <a:pt x="293927" y="1568149"/>
                </a:cubicBezTo>
                <a:lnTo>
                  <a:pt x="293927" y="1583531"/>
                </a:lnTo>
                <a:lnTo>
                  <a:pt x="278517" y="1583531"/>
                </a:lnTo>
                <a:cubicBezTo>
                  <a:pt x="270028" y="1583531"/>
                  <a:pt x="263107" y="1576614"/>
                  <a:pt x="263107" y="1568149"/>
                </a:cubicBezTo>
                <a:cubicBezTo>
                  <a:pt x="263107" y="1559683"/>
                  <a:pt x="270028" y="1552782"/>
                  <a:pt x="278517" y="1552782"/>
                </a:cubicBezTo>
                <a:close/>
                <a:moveTo>
                  <a:pt x="895052" y="1552781"/>
                </a:moveTo>
                <a:cubicBezTo>
                  <a:pt x="903556" y="1552781"/>
                  <a:pt x="910477" y="1559682"/>
                  <a:pt x="910477" y="1568148"/>
                </a:cubicBezTo>
                <a:lnTo>
                  <a:pt x="910477" y="1583531"/>
                </a:lnTo>
                <a:lnTo>
                  <a:pt x="895052" y="1583531"/>
                </a:lnTo>
                <a:cubicBezTo>
                  <a:pt x="886563" y="1583531"/>
                  <a:pt x="879643" y="1576613"/>
                  <a:pt x="879643" y="1568148"/>
                </a:cubicBezTo>
                <a:cubicBezTo>
                  <a:pt x="879643" y="1559682"/>
                  <a:pt x="886563" y="1552781"/>
                  <a:pt x="895052" y="1552781"/>
                </a:cubicBezTo>
                <a:close/>
                <a:moveTo>
                  <a:pt x="340882" y="1552781"/>
                </a:moveTo>
                <a:cubicBezTo>
                  <a:pt x="349371" y="1552781"/>
                  <a:pt x="356292" y="1559667"/>
                  <a:pt x="356292" y="1568148"/>
                </a:cubicBezTo>
                <a:cubicBezTo>
                  <a:pt x="356292" y="1576629"/>
                  <a:pt x="349371" y="1583531"/>
                  <a:pt x="340882" y="1583531"/>
                </a:cubicBezTo>
                <a:cubicBezTo>
                  <a:pt x="332394" y="1583531"/>
                  <a:pt x="325474" y="1576629"/>
                  <a:pt x="325474" y="1568148"/>
                </a:cubicBezTo>
                <a:cubicBezTo>
                  <a:pt x="325474" y="1559667"/>
                  <a:pt x="332394" y="1552781"/>
                  <a:pt x="340882" y="1552781"/>
                </a:cubicBezTo>
                <a:close/>
                <a:moveTo>
                  <a:pt x="550104" y="1548327"/>
                </a:moveTo>
                <a:lnTo>
                  <a:pt x="550104" y="1585773"/>
                </a:lnTo>
                <a:cubicBezTo>
                  <a:pt x="550104" y="1587005"/>
                  <a:pt x="551118" y="1588016"/>
                  <a:pt x="552353" y="1588016"/>
                </a:cubicBezTo>
                <a:cubicBezTo>
                  <a:pt x="553588" y="1588016"/>
                  <a:pt x="554602" y="1587005"/>
                  <a:pt x="554602" y="1585773"/>
                </a:cubicBezTo>
                <a:lnTo>
                  <a:pt x="554602" y="1571607"/>
                </a:lnTo>
                <a:lnTo>
                  <a:pt x="554602" y="1566521"/>
                </a:lnTo>
                <a:cubicBezTo>
                  <a:pt x="554602" y="1558956"/>
                  <a:pt x="560778" y="1552812"/>
                  <a:pt x="568364" y="1552812"/>
                </a:cubicBezTo>
                <a:cubicBezTo>
                  <a:pt x="575950" y="1552812"/>
                  <a:pt x="582127" y="1558972"/>
                  <a:pt x="582127" y="1566537"/>
                </a:cubicBezTo>
                <a:lnTo>
                  <a:pt x="582127" y="1585773"/>
                </a:lnTo>
                <a:cubicBezTo>
                  <a:pt x="582127" y="1587005"/>
                  <a:pt x="583140" y="1588016"/>
                  <a:pt x="584375" y="1588016"/>
                </a:cubicBezTo>
                <a:cubicBezTo>
                  <a:pt x="585611" y="1588016"/>
                  <a:pt x="586624" y="1587005"/>
                  <a:pt x="586624" y="1585773"/>
                </a:cubicBezTo>
                <a:lnTo>
                  <a:pt x="586624" y="1566537"/>
                </a:lnTo>
                <a:cubicBezTo>
                  <a:pt x="586624" y="1556492"/>
                  <a:pt x="578436" y="1548327"/>
                  <a:pt x="568380" y="1548327"/>
                </a:cubicBezTo>
                <a:lnTo>
                  <a:pt x="568364" y="1548327"/>
                </a:lnTo>
                <a:cubicBezTo>
                  <a:pt x="562869" y="1548327"/>
                  <a:pt x="557959" y="1550759"/>
                  <a:pt x="554602" y="1554581"/>
                </a:cubicBezTo>
                <a:lnTo>
                  <a:pt x="554602" y="1550570"/>
                </a:lnTo>
                <a:cubicBezTo>
                  <a:pt x="554602" y="1549322"/>
                  <a:pt x="553604" y="1548327"/>
                  <a:pt x="552353" y="1548327"/>
                </a:cubicBezTo>
                <a:close/>
                <a:moveTo>
                  <a:pt x="956975" y="1548312"/>
                </a:moveTo>
                <a:cubicBezTo>
                  <a:pt x="946000" y="1548312"/>
                  <a:pt x="937068" y="1557219"/>
                  <a:pt x="937068" y="1568164"/>
                </a:cubicBezTo>
                <a:cubicBezTo>
                  <a:pt x="937068" y="1579109"/>
                  <a:pt x="946000" y="1588017"/>
                  <a:pt x="956975" y="1588017"/>
                </a:cubicBezTo>
                <a:lnTo>
                  <a:pt x="976882" y="1588017"/>
                </a:lnTo>
                <a:lnTo>
                  <a:pt x="976882" y="1568164"/>
                </a:lnTo>
                <a:cubicBezTo>
                  <a:pt x="976882" y="1557219"/>
                  <a:pt x="967950" y="1548312"/>
                  <a:pt x="956975" y="1548312"/>
                </a:cubicBezTo>
                <a:close/>
                <a:moveTo>
                  <a:pt x="849077" y="1548312"/>
                </a:moveTo>
                <a:cubicBezTo>
                  <a:pt x="838102" y="1548312"/>
                  <a:pt x="829170" y="1557219"/>
                  <a:pt x="829170" y="1568164"/>
                </a:cubicBezTo>
                <a:cubicBezTo>
                  <a:pt x="829170" y="1579109"/>
                  <a:pt x="838102" y="1588017"/>
                  <a:pt x="849077" y="1588017"/>
                </a:cubicBezTo>
                <a:cubicBezTo>
                  <a:pt x="853527" y="1588017"/>
                  <a:pt x="857756" y="1586579"/>
                  <a:pt x="861272" y="1583863"/>
                </a:cubicBezTo>
                <a:cubicBezTo>
                  <a:pt x="862254" y="1583105"/>
                  <a:pt x="862428" y="1581699"/>
                  <a:pt x="861668" y="1580720"/>
                </a:cubicBezTo>
                <a:cubicBezTo>
                  <a:pt x="860907" y="1579741"/>
                  <a:pt x="859498" y="1579583"/>
                  <a:pt x="858516" y="1580325"/>
                </a:cubicBezTo>
                <a:cubicBezTo>
                  <a:pt x="855792" y="1582426"/>
                  <a:pt x="852530" y="1583547"/>
                  <a:pt x="849077" y="1583547"/>
                </a:cubicBezTo>
                <a:cubicBezTo>
                  <a:pt x="841349" y="1583547"/>
                  <a:pt x="834919" y="1577830"/>
                  <a:pt x="833826" y="1570407"/>
                </a:cubicBezTo>
                <a:lnTo>
                  <a:pt x="866735" y="1570407"/>
                </a:lnTo>
                <a:cubicBezTo>
                  <a:pt x="867971" y="1570407"/>
                  <a:pt x="868984" y="1569412"/>
                  <a:pt x="868984" y="1568164"/>
                </a:cubicBezTo>
                <a:cubicBezTo>
                  <a:pt x="868984" y="1557219"/>
                  <a:pt x="860052" y="1548312"/>
                  <a:pt x="849077" y="1548312"/>
                </a:cubicBezTo>
                <a:close/>
                <a:moveTo>
                  <a:pt x="720496" y="1548312"/>
                </a:moveTo>
                <a:cubicBezTo>
                  <a:pt x="709521" y="1548312"/>
                  <a:pt x="700589" y="1557219"/>
                  <a:pt x="700589" y="1568164"/>
                </a:cubicBezTo>
                <a:cubicBezTo>
                  <a:pt x="700589" y="1579109"/>
                  <a:pt x="709521" y="1588017"/>
                  <a:pt x="720496" y="1588017"/>
                </a:cubicBezTo>
                <a:lnTo>
                  <a:pt x="740419" y="1588017"/>
                </a:lnTo>
                <a:lnTo>
                  <a:pt x="740419" y="1568164"/>
                </a:lnTo>
                <a:cubicBezTo>
                  <a:pt x="740419" y="1557219"/>
                  <a:pt x="731471" y="1548312"/>
                  <a:pt x="720496" y="1548312"/>
                </a:cubicBezTo>
                <a:close/>
                <a:moveTo>
                  <a:pt x="612646" y="1548312"/>
                </a:moveTo>
                <a:cubicBezTo>
                  <a:pt x="601671" y="1548312"/>
                  <a:pt x="592739" y="1557219"/>
                  <a:pt x="592739" y="1568164"/>
                </a:cubicBezTo>
                <a:cubicBezTo>
                  <a:pt x="592739" y="1579109"/>
                  <a:pt x="601671" y="1588017"/>
                  <a:pt x="612646" y="1588017"/>
                </a:cubicBezTo>
                <a:cubicBezTo>
                  <a:pt x="617112" y="1588017"/>
                  <a:pt x="621325" y="1586579"/>
                  <a:pt x="624841" y="1583863"/>
                </a:cubicBezTo>
                <a:cubicBezTo>
                  <a:pt x="625823" y="1583105"/>
                  <a:pt x="625997" y="1581699"/>
                  <a:pt x="625237" y="1580720"/>
                </a:cubicBezTo>
                <a:cubicBezTo>
                  <a:pt x="624476" y="1579741"/>
                  <a:pt x="623067" y="1579583"/>
                  <a:pt x="622085" y="1580325"/>
                </a:cubicBezTo>
                <a:cubicBezTo>
                  <a:pt x="619361" y="1582426"/>
                  <a:pt x="616099" y="1583547"/>
                  <a:pt x="612646" y="1583547"/>
                </a:cubicBezTo>
                <a:cubicBezTo>
                  <a:pt x="604902" y="1583547"/>
                  <a:pt x="598472" y="1577830"/>
                  <a:pt x="597395" y="1570407"/>
                </a:cubicBezTo>
                <a:lnTo>
                  <a:pt x="630304" y="1570407"/>
                </a:lnTo>
                <a:cubicBezTo>
                  <a:pt x="631540" y="1570407"/>
                  <a:pt x="632553" y="1569412"/>
                  <a:pt x="632553" y="1568164"/>
                </a:cubicBezTo>
                <a:cubicBezTo>
                  <a:pt x="632553" y="1557219"/>
                  <a:pt x="623621" y="1548312"/>
                  <a:pt x="612646" y="1548312"/>
                </a:cubicBezTo>
                <a:close/>
                <a:moveTo>
                  <a:pt x="513331" y="1548312"/>
                </a:moveTo>
                <a:cubicBezTo>
                  <a:pt x="502356" y="1548312"/>
                  <a:pt x="493424" y="1557219"/>
                  <a:pt x="493424" y="1568164"/>
                </a:cubicBezTo>
                <a:cubicBezTo>
                  <a:pt x="493424" y="1579109"/>
                  <a:pt x="502356" y="1588017"/>
                  <a:pt x="513331" y="1588017"/>
                </a:cubicBezTo>
                <a:cubicBezTo>
                  <a:pt x="517940" y="1588017"/>
                  <a:pt x="522437" y="1586406"/>
                  <a:pt x="526001" y="1583468"/>
                </a:cubicBezTo>
                <a:cubicBezTo>
                  <a:pt x="526951" y="1582678"/>
                  <a:pt x="527094" y="1581273"/>
                  <a:pt x="526302" y="1580309"/>
                </a:cubicBezTo>
                <a:cubicBezTo>
                  <a:pt x="525510" y="1579362"/>
                  <a:pt x="524100" y="1579236"/>
                  <a:pt x="523134" y="1580009"/>
                </a:cubicBezTo>
                <a:cubicBezTo>
                  <a:pt x="520394" y="1582284"/>
                  <a:pt x="516894" y="1583531"/>
                  <a:pt x="513331" y="1583531"/>
                </a:cubicBezTo>
                <a:cubicBezTo>
                  <a:pt x="504827" y="1583531"/>
                  <a:pt x="497906" y="1576614"/>
                  <a:pt x="497906" y="1568149"/>
                </a:cubicBezTo>
                <a:cubicBezTo>
                  <a:pt x="497906" y="1559683"/>
                  <a:pt x="504827" y="1552782"/>
                  <a:pt x="513331" y="1552782"/>
                </a:cubicBezTo>
                <a:cubicBezTo>
                  <a:pt x="516894" y="1552782"/>
                  <a:pt x="520379" y="1554029"/>
                  <a:pt x="523134" y="1556303"/>
                </a:cubicBezTo>
                <a:cubicBezTo>
                  <a:pt x="524100" y="1557093"/>
                  <a:pt x="525510" y="1556967"/>
                  <a:pt x="526302" y="1556003"/>
                </a:cubicBezTo>
                <a:cubicBezTo>
                  <a:pt x="527094" y="1555040"/>
                  <a:pt x="526967" y="1553634"/>
                  <a:pt x="526001" y="1552845"/>
                </a:cubicBezTo>
                <a:cubicBezTo>
                  <a:pt x="522453" y="1549923"/>
                  <a:pt x="517940" y="1548312"/>
                  <a:pt x="513331" y="1548312"/>
                </a:cubicBezTo>
                <a:close/>
                <a:moveTo>
                  <a:pt x="429648" y="1548312"/>
                </a:moveTo>
                <a:cubicBezTo>
                  <a:pt x="418689" y="1548312"/>
                  <a:pt x="409741" y="1557219"/>
                  <a:pt x="409741" y="1568164"/>
                </a:cubicBezTo>
                <a:cubicBezTo>
                  <a:pt x="409741" y="1579109"/>
                  <a:pt x="418673" y="1588017"/>
                  <a:pt x="429648" y="1588017"/>
                </a:cubicBezTo>
                <a:lnTo>
                  <a:pt x="449555" y="1588017"/>
                </a:lnTo>
                <a:lnTo>
                  <a:pt x="449555" y="1568164"/>
                </a:lnTo>
                <a:cubicBezTo>
                  <a:pt x="449555" y="1557219"/>
                  <a:pt x="440607" y="1548312"/>
                  <a:pt x="429648" y="1548312"/>
                </a:cubicBezTo>
                <a:close/>
                <a:moveTo>
                  <a:pt x="926061" y="1548296"/>
                </a:moveTo>
                <a:cubicBezTo>
                  <a:pt x="924826" y="1548296"/>
                  <a:pt x="923812" y="1549291"/>
                  <a:pt x="923812" y="1550539"/>
                </a:cubicBezTo>
                <a:lnTo>
                  <a:pt x="923812" y="1585774"/>
                </a:lnTo>
                <a:cubicBezTo>
                  <a:pt x="923812" y="1587006"/>
                  <a:pt x="924826" y="1588016"/>
                  <a:pt x="926061" y="1588016"/>
                </a:cubicBezTo>
                <a:cubicBezTo>
                  <a:pt x="927296" y="1588016"/>
                  <a:pt x="928294" y="1587006"/>
                  <a:pt x="928294" y="1585774"/>
                </a:cubicBezTo>
                <a:lnTo>
                  <a:pt x="928294" y="1550539"/>
                </a:lnTo>
                <a:cubicBezTo>
                  <a:pt x="928294" y="1549291"/>
                  <a:pt x="927296" y="1548296"/>
                  <a:pt x="926061" y="1548296"/>
                </a:cubicBezTo>
                <a:close/>
                <a:moveTo>
                  <a:pt x="539732" y="1548296"/>
                </a:moveTo>
                <a:cubicBezTo>
                  <a:pt x="538497" y="1548296"/>
                  <a:pt x="537483" y="1549291"/>
                  <a:pt x="537483" y="1550539"/>
                </a:cubicBezTo>
                <a:lnTo>
                  <a:pt x="537483" y="1585774"/>
                </a:lnTo>
                <a:cubicBezTo>
                  <a:pt x="537483" y="1587006"/>
                  <a:pt x="538481" y="1588016"/>
                  <a:pt x="539732" y="1588016"/>
                </a:cubicBezTo>
                <a:cubicBezTo>
                  <a:pt x="540983" y="1588016"/>
                  <a:pt x="541981" y="1587006"/>
                  <a:pt x="541981" y="1585774"/>
                </a:cubicBezTo>
                <a:lnTo>
                  <a:pt x="541981" y="1550539"/>
                </a:lnTo>
                <a:cubicBezTo>
                  <a:pt x="541981" y="1549291"/>
                  <a:pt x="540967" y="1548296"/>
                  <a:pt x="539732" y="1548296"/>
                </a:cubicBezTo>
                <a:close/>
                <a:moveTo>
                  <a:pt x="371986" y="1548296"/>
                </a:moveTo>
                <a:cubicBezTo>
                  <a:pt x="370751" y="1548296"/>
                  <a:pt x="369737" y="1549291"/>
                  <a:pt x="369737" y="1550539"/>
                </a:cubicBezTo>
                <a:lnTo>
                  <a:pt x="369737" y="1585774"/>
                </a:lnTo>
                <a:cubicBezTo>
                  <a:pt x="369737" y="1587006"/>
                  <a:pt x="370751" y="1588016"/>
                  <a:pt x="371986" y="1588016"/>
                </a:cubicBezTo>
                <a:cubicBezTo>
                  <a:pt x="373237" y="1588016"/>
                  <a:pt x="374235" y="1587006"/>
                  <a:pt x="374235" y="1585774"/>
                </a:cubicBezTo>
                <a:lnTo>
                  <a:pt x="374235" y="1550539"/>
                </a:lnTo>
                <a:cubicBezTo>
                  <a:pt x="374235" y="1549291"/>
                  <a:pt x="373221" y="1548296"/>
                  <a:pt x="371986" y="1548296"/>
                </a:cubicBezTo>
                <a:close/>
                <a:moveTo>
                  <a:pt x="340882" y="1548296"/>
                </a:moveTo>
                <a:cubicBezTo>
                  <a:pt x="329907" y="1548296"/>
                  <a:pt x="320976" y="1557203"/>
                  <a:pt x="320976" y="1568148"/>
                </a:cubicBezTo>
                <a:cubicBezTo>
                  <a:pt x="320976" y="1579093"/>
                  <a:pt x="329907" y="1588001"/>
                  <a:pt x="340882" y="1588001"/>
                </a:cubicBezTo>
                <a:cubicBezTo>
                  <a:pt x="347074" y="1588001"/>
                  <a:pt x="352633" y="1585158"/>
                  <a:pt x="356292" y="1580704"/>
                </a:cubicBezTo>
                <a:lnTo>
                  <a:pt x="356292" y="1585774"/>
                </a:lnTo>
                <a:cubicBezTo>
                  <a:pt x="356292" y="1594239"/>
                  <a:pt x="349371" y="1601141"/>
                  <a:pt x="340882" y="1601141"/>
                </a:cubicBezTo>
                <a:cubicBezTo>
                  <a:pt x="334706" y="1601141"/>
                  <a:pt x="329147" y="1597493"/>
                  <a:pt x="326709" y="1591838"/>
                </a:cubicBezTo>
                <a:cubicBezTo>
                  <a:pt x="326217" y="1590701"/>
                  <a:pt x="324903" y="1590180"/>
                  <a:pt x="323746" y="1590670"/>
                </a:cubicBezTo>
                <a:cubicBezTo>
                  <a:pt x="322622" y="1591159"/>
                  <a:pt x="322084" y="1592470"/>
                  <a:pt x="322576" y="1593623"/>
                </a:cubicBezTo>
                <a:cubicBezTo>
                  <a:pt x="325726" y="1600920"/>
                  <a:pt x="332901" y="1605642"/>
                  <a:pt x="340882" y="1605642"/>
                </a:cubicBezTo>
                <a:cubicBezTo>
                  <a:pt x="351857" y="1605642"/>
                  <a:pt x="360789" y="1596734"/>
                  <a:pt x="360789" y="1585790"/>
                </a:cubicBezTo>
                <a:lnTo>
                  <a:pt x="360789" y="1568164"/>
                </a:lnTo>
                <a:cubicBezTo>
                  <a:pt x="360789" y="1557219"/>
                  <a:pt x="351857" y="1548312"/>
                  <a:pt x="340882" y="1548312"/>
                </a:cubicBezTo>
                <a:close/>
                <a:moveTo>
                  <a:pt x="309477" y="1548296"/>
                </a:moveTo>
                <a:cubicBezTo>
                  <a:pt x="308242" y="1548296"/>
                  <a:pt x="307244" y="1549291"/>
                  <a:pt x="307244" y="1550539"/>
                </a:cubicBezTo>
                <a:lnTo>
                  <a:pt x="307244" y="1585774"/>
                </a:lnTo>
                <a:cubicBezTo>
                  <a:pt x="307244" y="1587006"/>
                  <a:pt x="308242" y="1588016"/>
                  <a:pt x="309477" y="1588016"/>
                </a:cubicBezTo>
                <a:cubicBezTo>
                  <a:pt x="310728" y="1588016"/>
                  <a:pt x="311726" y="1587006"/>
                  <a:pt x="311726" y="1585774"/>
                </a:cubicBezTo>
                <a:lnTo>
                  <a:pt x="311726" y="1550539"/>
                </a:lnTo>
                <a:cubicBezTo>
                  <a:pt x="311726" y="1549291"/>
                  <a:pt x="310712" y="1548296"/>
                  <a:pt x="309477" y="1548296"/>
                </a:cubicBezTo>
                <a:close/>
                <a:moveTo>
                  <a:pt x="782402" y="1548280"/>
                </a:moveTo>
                <a:cubicBezTo>
                  <a:pt x="778126" y="1548280"/>
                  <a:pt x="774246" y="1550033"/>
                  <a:pt x="771443" y="1552844"/>
                </a:cubicBezTo>
                <a:lnTo>
                  <a:pt x="771443" y="1550570"/>
                </a:lnTo>
                <a:cubicBezTo>
                  <a:pt x="771443" y="1549322"/>
                  <a:pt x="770445" y="1548327"/>
                  <a:pt x="769194" y="1548327"/>
                </a:cubicBezTo>
                <a:lnTo>
                  <a:pt x="766945" y="1548327"/>
                </a:lnTo>
                <a:lnTo>
                  <a:pt x="766945" y="1550570"/>
                </a:lnTo>
                <a:lnTo>
                  <a:pt x="766945" y="1585774"/>
                </a:lnTo>
                <a:cubicBezTo>
                  <a:pt x="766945" y="1587005"/>
                  <a:pt x="767959" y="1588016"/>
                  <a:pt x="769194" y="1588016"/>
                </a:cubicBezTo>
                <a:cubicBezTo>
                  <a:pt x="770429" y="1588016"/>
                  <a:pt x="771443" y="1587005"/>
                  <a:pt x="771443" y="1585774"/>
                </a:cubicBezTo>
                <a:lnTo>
                  <a:pt x="771443" y="1563710"/>
                </a:lnTo>
                <a:cubicBezTo>
                  <a:pt x="771443" y="1557677"/>
                  <a:pt x="776352" y="1552781"/>
                  <a:pt x="782402" y="1552781"/>
                </a:cubicBezTo>
                <a:cubicBezTo>
                  <a:pt x="788452" y="1552781"/>
                  <a:pt x="793361" y="1557693"/>
                  <a:pt x="793361" y="1563710"/>
                </a:cubicBezTo>
                <a:lnTo>
                  <a:pt x="793361" y="1585774"/>
                </a:lnTo>
                <a:cubicBezTo>
                  <a:pt x="793361" y="1587005"/>
                  <a:pt x="794375" y="1588016"/>
                  <a:pt x="795610" y="1588016"/>
                </a:cubicBezTo>
                <a:cubicBezTo>
                  <a:pt x="796845" y="1588016"/>
                  <a:pt x="797859" y="1587005"/>
                  <a:pt x="797859" y="1585774"/>
                </a:cubicBezTo>
                <a:lnTo>
                  <a:pt x="797859" y="1563710"/>
                </a:lnTo>
                <a:cubicBezTo>
                  <a:pt x="797859" y="1557677"/>
                  <a:pt x="802784" y="1552781"/>
                  <a:pt x="808818" y="1552781"/>
                </a:cubicBezTo>
                <a:cubicBezTo>
                  <a:pt x="814852" y="1552781"/>
                  <a:pt x="819777" y="1557693"/>
                  <a:pt x="819777" y="1563710"/>
                </a:cubicBezTo>
                <a:lnTo>
                  <a:pt x="819777" y="1585774"/>
                </a:lnTo>
                <a:cubicBezTo>
                  <a:pt x="819777" y="1587005"/>
                  <a:pt x="820791" y="1588016"/>
                  <a:pt x="822026" y="1588016"/>
                </a:cubicBezTo>
                <a:cubicBezTo>
                  <a:pt x="823262" y="1588016"/>
                  <a:pt x="824275" y="1587005"/>
                  <a:pt x="824275" y="1585774"/>
                </a:cubicBezTo>
                <a:lnTo>
                  <a:pt x="824275" y="1563710"/>
                </a:lnTo>
                <a:cubicBezTo>
                  <a:pt x="824275" y="1559462"/>
                  <a:pt x="822541" y="1555604"/>
                  <a:pt x="819742" y="1552809"/>
                </a:cubicBezTo>
                <a:lnTo>
                  <a:pt x="808827" y="1548284"/>
                </a:lnTo>
                <a:lnTo>
                  <a:pt x="808834" y="1548280"/>
                </a:lnTo>
                <a:lnTo>
                  <a:pt x="808818" y="1548280"/>
                </a:lnTo>
                <a:lnTo>
                  <a:pt x="808827" y="1548284"/>
                </a:lnTo>
                <a:lnTo>
                  <a:pt x="795626" y="1555734"/>
                </a:lnTo>
                <a:cubicBezTo>
                  <a:pt x="792918" y="1551281"/>
                  <a:pt x="788008" y="1548280"/>
                  <a:pt x="782402" y="1548280"/>
                </a:cubicBezTo>
                <a:close/>
                <a:moveTo>
                  <a:pt x="653077" y="1548280"/>
                </a:moveTo>
                <a:cubicBezTo>
                  <a:pt x="648785" y="1548280"/>
                  <a:pt x="644921" y="1550033"/>
                  <a:pt x="642118" y="1552844"/>
                </a:cubicBezTo>
                <a:lnTo>
                  <a:pt x="642118" y="1550570"/>
                </a:lnTo>
                <a:cubicBezTo>
                  <a:pt x="642118" y="1549322"/>
                  <a:pt x="641104" y="1548327"/>
                  <a:pt x="639869" y="1548327"/>
                </a:cubicBezTo>
                <a:lnTo>
                  <a:pt x="637620" y="1548327"/>
                </a:lnTo>
                <a:lnTo>
                  <a:pt x="637620" y="1550570"/>
                </a:lnTo>
                <a:lnTo>
                  <a:pt x="637620" y="1585774"/>
                </a:lnTo>
                <a:cubicBezTo>
                  <a:pt x="637620" y="1587005"/>
                  <a:pt x="638634" y="1588016"/>
                  <a:pt x="639869" y="1588016"/>
                </a:cubicBezTo>
                <a:cubicBezTo>
                  <a:pt x="641104" y="1588016"/>
                  <a:pt x="642118" y="1587005"/>
                  <a:pt x="642118" y="1585774"/>
                </a:cubicBezTo>
                <a:lnTo>
                  <a:pt x="642118" y="1563710"/>
                </a:lnTo>
                <a:cubicBezTo>
                  <a:pt x="642118" y="1557677"/>
                  <a:pt x="647027" y="1552781"/>
                  <a:pt x="653077" y="1552781"/>
                </a:cubicBezTo>
                <a:cubicBezTo>
                  <a:pt x="659127" y="1552781"/>
                  <a:pt x="664036" y="1557693"/>
                  <a:pt x="664036" y="1563710"/>
                </a:cubicBezTo>
                <a:lnTo>
                  <a:pt x="664036" y="1585774"/>
                </a:lnTo>
                <a:cubicBezTo>
                  <a:pt x="664036" y="1587005"/>
                  <a:pt x="665050" y="1588016"/>
                  <a:pt x="666285" y="1588016"/>
                </a:cubicBezTo>
                <a:cubicBezTo>
                  <a:pt x="667520" y="1588016"/>
                  <a:pt x="668534" y="1587005"/>
                  <a:pt x="668534" y="1585774"/>
                </a:cubicBezTo>
                <a:lnTo>
                  <a:pt x="668534" y="1563710"/>
                </a:lnTo>
                <a:cubicBezTo>
                  <a:pt x="668534" y="1557677"/>
                  <a:pt x="673443" y="1552781"/>
                  <a:pt x="679493" y="1552781"/>
                </a:cubicBezTo>
                <a:cubicBezTo>
                  <a:pt x="685543" y="1552781"/>
                  <a:pt x="690452" y="1557693"/>
                  <a:pt x="690452" y="1563710"/>
                </a:cubicBezTo>
                <a:lnTo>
                  <a:pt x="690452" y="1585774"/>
                </a:lnTo>
                <a:cubicBezTo>
                  <a:pt x="690452" y="1587005"/>
                  <a:pt x="691466" y="1588016"/>
                  <a:pt x="692717" y="1588016"/>
                </a:cubicBezTo>
                <a:cubicBezTo>
                  <a:pt x="693968" y="1588016"/>
                  <a:pt x="694950" y="1587005"/>
                  <a:pt x="694950" y="1585774"/>
                </a:cubicBezTo>
                <a:lnTo>
                  <a:pt x="694950" y="1563710"/>
                </a:lnTo>
                <a:cubicBezTo>
                  <a:pt x="694950" y="1555213"/>
                  <a:pt x="688014" y="1548280"/>
                  <a:pt x="679493" y="1548280"/>
                </a:cubicBezTo>
                <a:cubicBezTo>
                  <a:pt x="673903" y="1548280"/>
                  <a:pt x="669009" y="1551281"/>
                  <a:pt x="666285" y="1555734"/>
                </a:cubicBezTo>
                <a:cubicBezTo>
                  <a:pt x="663577" y="1551281"/>
                  <a:pt x="658667" y="1548280"/>
                  <a:pt x="653077" y="1548280"/>
                </a:cubicBezTo>
                <a:close/>
                <a:moveTo>
                  <a:pt x="923811" y="1536261"/>
                </a:moveTo>
                <a:lnTo>
                  <a:pt x="923811" y="1538504"/>
                </a:lnTo>
                <a:cubicBezTo>
                  <a:pt x="923811" y="1539736"/>
                  <a:pt x="924825" y="1540746"/>
                  <a:pt x="926060" y="1540746"/>
                </a:cubicBezTo>
                <a:cubicBezTo>
                  <a:pt x="927295" y="1540746"/>
                  <a:pt x="928293" y="1539736"/>
                  <a:pt x="928293" y="1538504"/>
                </a:cubicBezTo>
                <a:cubicBezTo>
                  <a:pt x="928293" y="1537272"/>
                  <a:pt x="927295" y="1536261"/>
                  <a:pt x="926060" y="1536261"/>
                </a:cubicBezTo>
                <a:close/>
                <a:moveTo>
                  <a:pt x="537482" y="1536261"/>
                </a:moveTo>
                <a:lnTo>
                  <a:pt x="537482" y="1538504"/>
                </a:lnTo>
                <a:cubicBezTo>
                  <a:pt x="537482" y="1539736"/>
                  <a:pt x="538496" y="1540746"/>
                  <a:pt x="539731" y="1540746"/>
                </a:cubicBezTo>
                <a:cubicBezTo>
                  <a:pt x="540966" y="1540746"/>
                  <a:pt x="541980" y="1539736"/>
                  <a:pt x="541980" y="1538504"/>
                </a:cubicBezTo>
                <a:cubicBezTo>
                  <a:pt x="541980" y="1537272"/>
                  <a:pt x="540966" y="1536261"/>
                  <a:pt x="539731" y="1536261"/>
                </a:cubicBezTo>
                <a:close/>
                <a:moveTo>
                  <a:pt x="369736" y="1536261"/>
                </a:moveTo>
                <a:lnTo>
                  <a:pt x="369736" y="1538504"/>
                </a:lnTo>
                <a:cubicBezTo>
                  <a:pt x="369736" y="1539736"/>
                  <a:pt x="370750" y="1540746"/>
                  <a:pt x="371985" y="1540746"/>
                </a:cubicBezTo>
                <a:cubicBezTo>
                  <a:pt x="373220" y="1540746"/>
                  <a:pt x="374234" y="1539736"/>
                  <a:pt x="374234" y="1538504"/>
                </a:cubicBezTo>
                <a:cubicBezTo>
                  <a:pt x="374234" y="1537272"/>
                  <a:pt x="373236" y="1536261"/>
                  <a:pt x="371985" y="1536261"/>
                </a:cubicBezTo>
                <a:close/>
                <a:moveTo>
                  <a:pt x="307227" y="1536261"/>
                </a:moveTo>
                <a:lnTo>
                  <a:pt x="307227" y="1538504"/>
                </a:lnTo>
                <a:cubicBezTo>
                  <a:pt x="307227" y="1539736"/>
                  <a:pt x="308241" y="1540746"/>
                  <a:pt x="309476" y="1540746"/>
                </a:cubicBezTo>
                <a:cubicBezTo>
                  <a:pt x="310711" y="1540746"/>
                  <a:pt x="311709" y="1539736"/>
                  <a:pt x="311709" y="1538504"/>
                </a:cubicBezTo>
                <a:cubicBezTo>
                  <a:pt x="311709" y="1537272"/>
                  <a:pt x="310711" y="1536261"/>
                  <a:pt x="309476" y="1536261"/>
                </a:cubicBezTo>
                <a:close/>
                <a:moveTo>
                  <a:pt x="912710" y="1531507"/>
                </a:moveTo>
                <a:cubicBezTo>
                  <a:pt x="911475" y="1531507"/>
                  <a:pt x="910461" y="1532502"/>
                  <a:pt x="910461" y="1533750"/>
                </a:cubicBezTo>
                <a:lnTo>
                  <a:pt x="910461" y="1555608"/>
                </a:lnTo>
                <a:cubicBezTo>
                  <a:pt x="906803" y="1551154"/>
                  <a:pt x="901244" y="1548311"/>
                  <a:pt x="895036" y="1548311"/>
                </a:cubicBezTo>
                <a:cubicBezTo>
                  <a:pt x="884061" y="1548311"/>
                  <a:pt x="875129" y="1557219"/>
                  <a:pt x="875129" y="1568164"/>
                </a:cubicBezTo>
                <a:cubicBezTo>
                  <a:pt x="875129" y="1579108"/>
                  <a:pt x="884061" y="1588016"/>
                  <a:pt x="895036" y="1588016"/>
                </a:cubicBezTo>
                <a:lnTo>
                  <a:pt x="914959" y="1588016"/>
                </a:lnTo>
                <a:lnTo>
                  <a:pt x="914959" y="1533750"/>
                </a:lnTo>
                <a:cubicBezTo>
                  <a:pt x="914959" y="1532502"/>
                  <a:pt x="913946" y="1531507"/>
                  <a:pt x="912710" y="1531507"/>
                </a:cubicBezTo>
                <a:close/>
                <a:moveTo>
                  <a:pt x="457696" y="1531507"/>
                </a:moveTo>
                <a:cubicBezTo>
                  <a:pt x="456461" y="1531507"/>
                  <a:pt x="455447" y="1532502"/>
                  <a:pt x="455447" y="1533750"/>
                </a:cubicBezTo>
                <a:lnTo>
                  <a:pt x="455447" y="1582346"/>
                </a:lnTo>
                <a:cubicBezTo>
                  <a:pt x="455447" y="1585473"/>
                  <a:pt x="457996" y="1588016"/>
                  <a:pt x="461131" y="1588016"/>
                </a:cubicBezTo>
                <a:cubicBezTo>
                  <a:pt x="462384" y="1588016"/>
                  <a:pt x="463381" y="1587021"/>
                  <a:pt x="463381" y="1585773"/>
                </a:cubicBezTo>
                <a:cubicBezTo>
                  <a:pt x="463381" y="1584525"/>
                  <a:pt x="462384" y="1583531"/>
                  <a:pt x="461131" y="1583531"/>
                </a:cubicBezTo>
                <a:cubicBezTo>
                  <a:pt x="460482" y="1583531"/>
                  <a:pt x="459945" y="1583009"/>
                  <a:pt x="459945" y="1582346"/>
                </a:cubicBezTo>
                <a:lnTo>
                  <a:pt x="459945" y="1533750"/>
                </a:lnTo>
                <a:cubicBezTo>
                  <a:pt x="459945" y="1532502"/>
                  <a:pt x="458930" y="1531507"/>
                  <a:pt x="457696" y="1531507"/>
                </a:cubicBezTo>
                <a:close/>
                <a:moveTo>
                  <a:pt x="391623" y="1531492"/>
                </a:moveTo>
                <a:cubicBezTo>
                  <a:pt x="390389" y="1531492"/>
                  <a:pt x="389374" y="1532487"/>
                  <a:pt x="389374" y="1533735"/>
                </a:cubicBezTo>
                <a:lnTo>
                  <a:pt x="389374" y="1548296"/>
                </a:lnTo>
                <a:lnTo>
                  <a:pt x="385606" y="1548296"/>
                </a:lnTo>
                <a:cubicBezTo>
                  <a:pt x="384370" y="1548296"/>
                  <a:pt x="383356" y="1549291"/>
                  <a:pt x="383356" y="1550539"/>
                </a:cubicBezTo>
                <a:cubicBezTo>
                  <a:pt x="383356" y="1551787"/>
                  <a:pt x="384370" y="1552782"/>
                  <a:pt x="385606" y="1552782"/>
                </a:cubicBezTo>
                <a:lnTo>
                  <a:pt x="389374" y="1552782"/>
                </a:lnTo>
                <a:lnTo>
                  <a:pt x="389374" y="1576093"/>
                </a:lnTo>
                <a:cubicBezTo>
                  <a:pt x="389374" y="1582663"/>
                  <a:pt x="394727" y="1588001"/>
                  <a:pt x="401315" y="1588001"/>
                </a:cubicBezTo>
                <a:cubicBezTo>
                  <a:pt x="402218" y="1588001"/>
                  <a:pt x="403106" y="1587906"/>
                  <a:pt x="403976" y="1587701"/>
                </a:cubicBezTo>
                <a:lnTo>
                  <a:pt x="405663" y="1585028"/>
                </a:lnTo>
                <a:lnTo>
                  <a:pt x="405670" y="1585032"/>
                </a:lnTo>
                <a:lnTo>
                  <a:pt x="405670" y="1585016"/>
                </a:lnTo>
                <a:lnTo>
                  <a:pt x="405663" y="1585028"/>
                </a:lnTo>
                <a:lnTo>
                  <a:pt x="402978" y="1583342"/>
                </a:lnTo>
                <a:cubicBezTo>
                  <a:pt x="402441" y="1583468"/>
                  <a:pt x="401885" y="1583531"/>
                  <a:pt x="401315" y="1583531"/>
                </a:cubicBezTo>
                <a:cubicBezTo>
                  <a:pt x="397214" y="1583531"/>
                  <a:pt x="393873" y="1580199"/>
                  <a:pt x="393873" y="1576093"/>
                </a:cubicBezTo>
                <a:lnTo>
                  <a:pt x="393873" y="1552782"/>
                </a:lnTo>
                <a:lnTo>
                  <a:pt x="400207" y="1552782"/>
                </a:lnTo>
                <a:cubicBezTo>
                  <a:pt x="401458" y="1552782"/>
                  <a:pt x="402456" y="1551771"/>
                  <a:pt x="402456" y="1550539"/>
                </a:cubicBezTo>
                <a:cubicBezTo>
                  <a:pt x="402456" y="1549307"/>
                  <a:pt x="401458" y="1548296"/>
                  <a:pt x="400207" y="1548296"/>
                </a:cubicBezTo>
                <a:lnTo>
                  <a:pt x="393873" y="1548296"/>
                </a:lnTo>
                <a:lnTo>
                  <a:pt x="393873" y="1533735"/>
                </a:lnTo>
                <a:cubicBezTo>
                  <a:pt x="393873" y="1532487"/>
                  <a:pt x="392858" y="1531492"/>
                  <a:pt x="391623" y="1531492"/>
                </a:cubicBezTo>
                <a:close/>
                <a:moveTo>
                  <a:pt x="296175" y="1531492"/>
                </a:moveTo>
                <a:cubicBezTo>
                  <a:pt x="294940" y="1531492"/>
                  <a:pt x="293927" y="1532487"/>
                  <a:pt x="293927" y="1533735"/>
                </a:cubicBezTo>
                <a:lnTo>
                  <a:pt x="293927" y="1555593"/>
                </a:lnTo>
                <a:cubicBezTo>
                  <a:pt x="290284" y="1551139"/>
                  <a:pt x="284724" y="1548296"/>
                  <a:pt x="278517" y="1548296"/>
                </a:cubicBezTo>
                <a:cubicBezTo>
                  <a:pt x="267541" y="1548296"/>
                  <a:pt x="258609" y="1557188"/>
                  <a:pt x="258609" y="1568149"/>
                </a:cubicBezTo>
                <a:cubicBezTo>
                  <a:pt x="258609" y="1579109"/>
                  <a:pt x="267541" y="1588017"/>
                  <a:pt x="278517" y="1588017"/>
                </a:cubicBezTo>
                <a:lnTo>
                  <a:pt x="298424" y="1588017"/>
                </a:lnTo>
                <a:lnTo>
                  <a:pt x="298424" y="1588001"/>
                </a:lnTo>
                <a:lnTo>
                  <a:pt x="298424" y="1533735"/>
                </a:lnTo>
                <a:cubicBezTo>
                  <a:pt x="298424" y="1532487"/>
                  <a:pt x="297411" y="1531492"/>
                  <a:pt x="296175" y="1531492"/>
                </a:cubicBezTo>
                <a:close/>
                <a:moveTo>
                  <a:pt x="533786" y="1426621"/>
                </a:moveTo>
                <a:lnTo>
                  <a:pt x="533794" y="1426640"/>
                </a:lnTo>
                <a:lnTo>
                  <a:pt x="533786" y="1426660"/>
                </a:lnTo>
                <a:lnTo>
                  <a:pt x="533778" y="1426640"/>
                </a:lnTo>
                <a:close/>
                <a:moveTo>
                  <a:pt x="258609" y="1356738"/>
                </a:moveTo>
                <a:lnTo>
                  <a:pt x="258609" y="1426640"/>
                </a:lnTo>
                <a:cubicBezTo>
                  <a:pt x="258609" y="1465255"/>
                  <a:pt x="289413" y="1496557"/>
                  <a:pt x="327405" y="1496557"/>
                </a:cubicBezTo>
                <a:cubicBezTo>
                  <a:pt x="365398" y="1496557"/>
                  <a:pt x="396201" y="1465270"/>
                  <a:pt x="396201" y="1426640"/>
                </a:cubicBezTo>
                <a:cubicBezTo>
                  <a:pt x="396201" y="1465255"/>
                  <a:pt x="427004" y="1496557"/>
                  <a:pt x="464997" y="1496557"/>
                </a:cubicBezTo>
                <a:cubicBezTo>
                  <a:pt x="483994" y="1496557"/>
                  <a:pt x="501193" y="1488735"/>
                  <a:pt x="513643" y="1476085"/>
                </a:cubicBezTo>
                <a:lnTo>
                  <a:pt x="533786" y="1426660"/>
                </a:lnTo>
                <a:lnTo>
                  <a:pt x="553923" y="1476079"/>
                </a:lnTo>
                <a:cubicBezTo>
                  <a:pt x="566371" y="1488732"/>
                  <a:pt x="583570" y="1496557"/>
                  <a:pt x="602574" y="1496557"/>
                </a:cubicBezTo>
                <a:cubicBezTo>
                  <a:pt x="615117" y="1496557"/>
                  <a:pt x="626868" y="1493146"/>
                  <a:pt x="636972" y="1487192"/>
                </a:cubicBezTo>
                <a:cubicBezTo>
                  <a:pt x="647108" y="1493146"/>
                  <a:pt x="658843" y="1496557"/>
                  <a:pt x="671370" y="1496557"/>
                </a:cubicBezTo>
                <a:cubicBezTo>
                  <a:pt x="709363" y="1496557"/>
                  <a:pt x="740166" y="1465270"/>
                  <a:pt x="740166" y="1426640"/>
                </a:cubicBezTo>
                <a:cubicBezTo>
                  <a:pt x="740166" y="1388009"/>
                  <a:pt x="709379" y="1356738"/>
                  <a:pt x="671386" y="1356738"/>
                </a:cubicBezTo>
                <a:cubicBezTo>
                  <a:pt x="658859" y="1356738"/>
                  <a:pt x="647123" y="1360134"/>
                  <a:pt x="636988" y="1366088"/>
                </a:cubicBezTo>
                <a:lnTo>
                  <a:pt x="636972" y="1366088"/>
                </a:lnTo>
                <a:cubicBezTo>
                  <a:pt x="626868" y="1360149"/>
                  <a:pt x="615117" y="1356738"/>
                  <a:pt x="602574" y="1356738"/>
                </a:cubicBezTo>
                <a:cubicBezTo>
                  <a:pt x="583570" y="1356738"/>
                  <a:pt x="566371" y="1364560"/>
                  <a:pt x="553923" y="1377209"/>
                </a:cubicBezTo>
                <a:lnTo>
                  <a:pt x="533786" y="1426621"/>
                </a:lnTo>
                <a:lnTo>
                  <a:pt x="513638" y="1377203"/>
                </a:lnTo>
                <a:cubicBezTo>
                  <a:pt x="501185" y="1364556"/>
                  <a:pt x="483986" y="1356738"/>
                  <a:pt x="464997" y="1356738"/>
                </a:cubicBezTo>
                <a:cubicBezTo>
                  <a:pt x="427020" y="1356738"/>
                  <a:pt x="396201" y="1388025"/>
                  <a:pt x="396201" y="1426640"/>
                </a:cubicBezTo>
                <a:cubicBezTo>
                  <a:pt x="396201" y="1388009"/>
                  <a:pt x="365398" y="1356738"/>
                  <a:pt x="327405" y="1356738"/>
                </a:cubicBezTo>
                <a:close/>
                <a:moveTo>
                  <a:pt x="0" y="0"/>
                </a:moveTo>
                <a:lnTo>
                  <a:pt x="4026025" y="0"/>
                </a:lnTo>
                <a:lnTo>
                  <a:pt x="4026025" y="1720686"/>
                </a:lnTo>
                <a:lnTo>
                  <a:pt x="0" y="1720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6025" y="-18558"/>
            <a:ext cx="5117975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6024" y="2555442"/>
            <a:ext cx="5117975" cy="2588057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5120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8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1791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41791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8DF66431-F50D-C624-FF9B-EC74362B63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1791" y="3410442"/>
            <a:ext cx="2405174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3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F3F4F4D-9C9E-7A62-38F7-3441855C57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2572610"/>
            <a:ext cx="4356000" cy="2579546"/>
          </a:xfrm>
          <a:custGeom>
            <a:avLst/>
            <a:gdLst>
              <a:gd name="connsiteX0" fmla="*/ 956975 w 4335550"/>
              <a:gd name="connsiteY0" fmla="*/ 2394293 h 2579546"/>
              <a:gd name="connsiteX1" fmla="*/ 972400 w 4335550"/>
              <a:gd name="connsiteY1" fmla="*/ 2409660 h 2579546"/>
              <a:gd name="connsiteX2" fmla="*/ 972400 w 4335550"/>
              <a:gd name="connsiteY2" fmla="*/ 2425042 h 2579546"/>
              <a:gd name="connsiteX3" fmla="*/ 956975 w 4335550"/>
              <a:gd name="connsiteY3" fmla="*/ 2425042 h 2579546"/>
              <a:gd name="connsiteX4" fmla="*/ 941566 w 4335550"/>
              <a:gd name="connsiteY4" fmla="*/ 2409660 h 2579546"/>
              <a:gd name="connsiteX5" fmla="*/ 956975 w 4335550"/>
              <a:gd name="connsiteY5" fmla="*/ 2394293 h 2579546"/>
              <a:gd name="connsiteX6" fmla="*/ 849077 w 4335550"/>
              <a:gd name="connsiteY6" fmla="*/ 2394293 h 2579546"/>
              <a:gd name="connsiteX7" fmla="*/ 864328 w 4335550"/>
              <a:gd name="connsiteY7" fmla="*/ 2407417 h 2579546"/>
              <a:gd name="connsiteX8" fmla="*/ 833826 w 4335550"/>
              <a:gd name="connsiteY8" fmla="*/ 2407417 h 2579546"/>
              <a:gd name="connsiteX9" fmla="*/ 849077 w 4335550"/>
              <a:gd name="connsiteY9" fmla="*/ 2394293 h 2579546"/>
              <a:gd name="connsiteX10" fmla="*/ 720496 w 4335550"/>
              <a:gd name="connsiteY10" fmla="*/ 2394293 h 2579546"/>
              <a:gd name="connsiteX11" fmla="*/ 735922 w 4335550"/>
              <a:gd name="connsiteY11" fmla="*/ 2409660 h 2579546"/>
              <a:gd name="connsiteX12" fmla="*/ 735922 w 4335550"/>
              <a:gd name="connsiteY12" fmla="*/ 2425042 h 2579546"/>
              <a:gd name="connsiteX13" fmla="*/ 720496 w 4335550"/>
              <a:gd name="connsiteY13" fmla="*/ 2425042 h 2579546"/>
              <a:gd name="connsiteX14" fmla="*/ 705087 w 4335550"/>
              <a:gd name="connsiteY14" fmla="*/ 2409660 h 2579546"/>
              <a:gd name="connsiteX15" fmla="*/ 720496 w 4335550"/>
              <a:gd name="connsiteY15" fmla="*/ 2394293 h 2579546"/>
              <a:gd name="connsiteX16" fmla="*/ 612646 w 4335550"/>
              <a:gd name="connsiteY16" fmla="*/ 2394293 h 2579546"/>
              <a:gd name="connsiteX17" fmla="*/ 627897 w 4335550"/>
              <a:gd name="connsiteY17" fmla="*/ 2407417 h 2579546"/>
              <a:gd name="connsiteX18" fmla="*/ 597395 w 4335550"/>
              <a:gd name="connsiteY18" fmla="*/ 2407417 h 2579546"/>
              <a:gd name="connsiteX19" fmla="*/ 612646 w 4335550"/>
              <a:gd name="connsiteY19" fmla="*/ 2394293 h 2579546"/>
              <a:gd name="connsiteX20" fmla="*/ 429632 w 4335550"/>
              <a:gd name="connsiteY20" fmla="*/ 2394293 h 2579546"/>
              <a:gd name="connsiteX21" fmla="*/ 445042 w 4335550"/>
              <a:gd name="connsiteY21" fmla="*/ 2409660 h 2579546"/>
              <a:gd name="connsiteX22" fmla="*/ 445042 w 4335550"/>
              <a:gd name="connsiteY22" fmla="*/ 2425042 h 2579546"/>
              <a:gd name="connsiteX23" fmla="*/ 429632 w 4335550"/>
              <a:gd name="connsiteY23" fmla="*/ 2425042 h 2579546"/>
              <a:gd name="connsiteX24" fmla="*/ 414223 w 4335550"/>
              <a:gd name="connsiteY24" fmla="*/ 2409660 h 2579546"/>
              <a:gd name="connsiteX25" fmla="*/ 429632 w 4335550"/>
              <a:gd name="connsiteY25" fmla="*/ 2394293 h 2579546"/>
              <a:gd name="connsiteX26" fmla="*/ 278516 w 4335550"/>
              <a:gd name="connsiteY26" fmla="*/ 2394293 h 2579546"/>
              <a:gd name="connsiteX27" fmla="*/ 293926 w 4335550"/>
              <a:gd name="connsiteY27" fmla="*/ 2409660 h 2579546"/>
              <a:gd name="connsiteX28" fmla="*/ 293926 w 4335550"/>
              <a:gd name="connsiteY28" fmla="*/ 2425042 h 2579546"/>
              <a:gd name="connsiteX29" fmla="*/ 278516 w 4335550"/>
              <a:gd name="connsiteY29" fmla="*/ 2425042 h 2579546"/>
              <a:gd name="connsiteX30" fmla="*/ 263107 w 4335550"/>
              <a:gd name="connsiteY30" fmla="*/ 2409660 h 2579546"/>
              <a:gd name="connsiteX31" fmla="*/ 278516 w 4335550"/>
              <a:gd name="connsiteY31" fmla="*/ 2394293 h 2579546"/>
              <a:gd name="connsiteX32" fmla="*/ 895052 w 4335550"/>
              <a:gd name="connsiteY32" fmla="*/ 2394292 h 2579546"/>
              <a:gd name="connsiteX33" fmla="*/ 910477 w 4335550"/>
              <a:gd name="connsiteY33" fmla="*/ 2409659 h 2579546"/>
              <a:gd name="connsiteX34" fmla="*/ 910477 w 4335550"/>
              <a:gd name="connsiteY34" fmla="*/ 2425042 h 2579546"/>
              <a:gd name="connsiteX35" fmla="*/ 895052 w 4335550"/>
              <a:gd name="connsiteY35" fmla="*/ 2425042 h 2579546"/>
              <a:gd name="connsiteX36" fmla="*/ 879643 w 4335550"/>
              <a:gd name="connsiteY36" fmla="*/ 2409659 h 2579546"/>
              <a:gd name="connsiteX37" fmla="*/ 895052 w 4335550"/>
              <a:gd name="connsiteY37" fmla="*/ 2394292 h 2579546"/>
              <a:gd name="connsiteX38" fmla="*/ 340882 w 4335550"/>
              <a:gd name="connsiteY38" fmla="*/ 2394292 h 2579546"/>
              <a:gd name="connsiteX39" fmla="*/ 356292 w 4335550"/>
              <a:gd name="connsiteY39" fmla="*/ 2409659 h 2579546"/>
              <a:gd name="connsiteX40" fmla="*/ 340882 w 4335550"/>
              <a:gd name="connsiteY40" fmla="*/ 2425042 h 2579546"/>
              <a:gd name="connsiteX41" fmla="*/ 325473 w 4335550"/>
              <a:gd name="connsiteY41" fmla="*/ 2409659 h 2579546"/>
              <a:gd name="connsiteX42" fmla="*/ 340882 w 4335550"/>
              <a:gd name="connsiteY42" fmla="*/ 2394292 h 2579546"/>
              <a:gd name="connsiteX43" fmla="*/ 550105 w 4335550"/>
              <a:gd name="connsiteY43" fmla="*/ 2389838 h 2579546"/>
              <a:gd name="connsiteX44" fmla="*/ 550105 w 4335550"/>
              <a:gd name="connsiteY44" fmla="*/ 2427284 h 2579546"/>
              <a:gd name="connsiteX45" fmla="*/ 552354 w 4335550"/>
              <a:gd name="connsiteY45" fmla="*/ 2429527 h 2579546"/>
              <a:gd name="connsiteX46" fmla="*/ 554603 w 4335550"/>
              <a:gd name="connsiteY46" fmla="*/ 2427284 h 2579546"/>
              <a:gd name="connsiteX47" fmla="*/ 554603 w 4335550"/>
              <a:gd name="connsiteY47" fmla="*/ 2413118 h 2579546"/>
              <a:gd name="connsiteX48" fmla="*/ 554603 w 4335550"/>
              <a:gd name="connsiteY48" fmla="*/ 2408032 h 2579546"/>
              <a:gd name="connsiteX49" fmla="*/ 568365 w 4335550"/>
              <a:gd name="connsiteY49" fmla="*/ 2394323 h 2579546"/>
              <a:gd name="connsiteX50" fmla="*/ 582128 w 4335550"/>
              <a:gd name="connsiteY50" fmla="*/ 2408048 h 2579546"/>
              <a:gd name="connsiteX51" fmla="*/ 582128 w 4335550"/>
              <a:gd name="connsiteY51" fmla="*/ 2427284 h 2579546"/>
              <a:gd name="connsiteX52" fmla="*/ 584376 w 4335550"/>
              <a:gd name="connsiteY52" fmla="*/ 2429527 h 2579546"/>
              <a:gd name="connsiteX53" fmla="*/ 586625 w 4335550"/>
              <a:gd name="connsiteY53" fmla="*/ 2427284 h 2579546"/>
              <a:gd name="connsiteX54" fmla="*/ 586625 w 4335550"/>
              <a:gd name="connsiteY54" fmla="*/ 2408048 h 2579546"/>
              <a:gd name="connsiteX55" fmla="*/ 568381 w 4335550"/>
              <a:gd name="connsiteY55" fmla="*/ 2389838 h 2579546"/>
              <a:gd name="connsiteX56" fmla="*/ 568365 w 4335550"/>
              <a:gd name="connsiteY56" fmla="*/ 2389838 h 2579546"/>
              <a:gd name="connsiteX57" fmla="*/ 554603 w 4335550"/>
              <a:gd name="connsiteY57" fmla="*/ 2396092 h 2579546"/>
              <a:gd name="connsiteX58" fmla="*/ 554603 w 4335550"/>
              <a:gd name="connsiteY58" fmla="*/ 2392081 h 2579546"/>
              <a:gd name="connsiteX59" fmla="*/ 552354 w 4335550"/>
              <a:gd name="connsiteY59" fmla="*/ 2389838 h 2579546"/>
              <a:gd name="connsiteX60" fmla="*/ 956975 w 4335550"/>
              <a:gd name="connsiteY60" fmla="*/ 2389823 h 2579546"/>
              <a:gd name="connsiteX61" fmla="*/ 937068 w 4335550"/>
              <a:gd name="connsiteY61" fmla="*/ 2409675 h 2579546"/>
              <a:gd name="connsiteX62" fmla="*/ 956975 w 4335550"/>
              <a:gd name="connsiteY62" fmla="*/ 2429528 h 2579546"/>
              <a:gd name="connsiteX63" fmla="*/ 976882 w 4335550"/>
              <a:gd name="connsiteY63" fmla="*/ 2429528 h 2579546"/>
              <a:gd name="connsiteX64" fmla="*/ 976882 w 4335550"/>
              <a:gd name="connsiteY64" fmla="*/ 2409675 h 2579546"/>
              <a:gd name="connsiteX65" fmla="*/ 956975 w 4335550"/>
              <a:gd name="connsiteY65" fmla="*/ 2389823 h 2579546"/>
              <a:gd name="connsiteX66" fmla="*/ 849077 w 4335550"/>
              <a:gd name="connsiteY66" fmla="*/ 2389823 h 2579546"/>
              <a:gd name="connsiteX67" fmla="*/ 829170 w 4335550"/>
              <a:gd name="connsiteY67" fmla="*/ 2409675 h 2579546"/>
              <a:gd name="connsiteX68" fmla="*/ 849077 w 4335550"/>
              <a:gd name="connsiteY68" fmla="*/ 2429528 h 2579546"/>
              <a:gd name="connsiteX69" fmla="*/ 861272 w 4335550"/>
              <a:gd name="connsiteY69" fmla="*/ 2425374 h 2579546"/>
              <a:gd name="connsiteX70" fmla="*/ 861668 w 4335550"/>
              <a:gd name="connsiteY70" fmla="*/ 2422231 h 2579546"/>
              <a:gd name="connsiteX71" fmla="*/ 858516 w 4335550"/>
              <a:gd name="connsiteY71" fmla="*/ 2421836 h 2579546"/>
              <a:gd name="connsiteX72" fmla="*/ 849077 w 4335550"/>
              <a:gd name="connsiteY72" fmla="*/ 2425058 h 2579546"/>
              <a:gd name="connsiteX73" fmla="*/ 833826 w 4335550"/>
              <a:gd name="connsiteY73" fmla="*/ 2411918 h 2579546"/>
              <a:gd name="connsiteX74" fmla="*/ 866735 w 4335550"/>
              <a:gd name="connsiteY74" fmla="*/ 2411918 h 2579546"/>
              <a:gd name="connsiteX75" fmla="*/ 868984 w 4335550"/>
              <a:gd name="connsiteY75" fmla="*/ 2409675 h 2579546"/>
              <a:gd name="connsiteX76" fmla="*/ 849077 w 4335550"/>
              <a:gd name="connsiteY76" fmla="*/ 2389823 h 2579546"/>
              <a:gd name="connsiteX77" fmla="*/ 720496 w 4335550"/>
              <a:gd name="connsiteY77" fmla="*/ 2389823 h 2579546"/>
              <a:gd name="connsiteX78" fmla="*/ 700589 w 4335550"/>
              <a:gd name="connsiteY78" fmla="*/ 2409675 h 2579546"/>
              <a:gd name="connsiteX79" fmla="*/ 720496 w 4335550"/>
              <a:gd name="connsiteY79" fmla="*/ 2429528 h 2579546"/>
              <a:gd name="connsiteX80" fmla="*/ 740419 w 4335550"/>
              <a:gd name="connsiteY80" fmla="*/ 2429528 h 2579546"/>
              <a:gd name="connsiteX81" fmla="*/ 740419 w 4335550"/>
              <a:gd name="connsiteY81" fmla="*/ 2409675 h 2579546"/>
              <a:gd name="connsiteX82" fmla="*/ 720496 w 4335550"/>
              <a:gd name="connsiteY82" fmla="*/ 2389823 h 2579546"/>
              <a:gd name="connsiteX83" fmla="*/ 612646 w 4335550"/>
              <a:gd name="connsiteY83" fmla="*/ 2389823 h 2579546"/>
              <a:gd name="connsiteX84" fmla="*/ 592739 w 4335550"/>
              <a:gd name="connsiteY84" fmla="*/ 2409675 h 2579546"/>
              <a:gd name="connsiteX85" fmla="*/ 612646 w 4335550"/>
              <a:gd name="connsiteY85" fmla="*/ 2429528 h 2579546"/>
              <a:gd name="connsiteX86" fmla="*/ 624841 w 4335550"/>
              <a:gd name="connsiteY86" fmla="*/ 2425374 h 2579546"/>
              <a:gd name="connsiteX87" fmla="*/ 625237 w 4335550"/>
              <a:gd name="connsiteY87" fmla="*/ 2422231 h 2579546"/>
              <a:gd name="connsiteX88" fmla="*/ 622085 w 4335550"/>
              <a:gd name="connsiteY88" fmla="*/ 2421836 h 2579546"/>
              <a:gd name="connsiteX89" fmla="*/ 612646 w 4335550"/>
              <a:gd name="connsiteY89" fmla="*/ 2425058 h 2579546"/>
              <a:gd name="connsiteX90" fmla="*/ 597395 w 4335550"/>
              <a:gd name="connsiteY90" fmla="*/ 2411918 h 2579546"/>
              <a:gd name="connsiteX91" fmla="*/ 630304 w 4335550"/>
              <a:gd name="connsiteY91" fmla="*/ 2411918 h 2579546"/>
              <a:gd name="connsiteX92" fmla="*/ 632553 w 4335550"/>
              <a:gd name="connsiteY92" fmla="*/ 2409675 h 2579546"/>
              <a:gd name="connsiteX93" fmla="*/ 612646 w 4335550"/>
              <a:gd name="connsiteY93" fmla="*/ 2389823 h 2579546"/>
              <a:gd name="connsiteX94" fmla="*/ 513331 w 4335550"/>
              <a:gd name="connsiteY94" fmla="*/ 2389823 h 2579546"/>
              <a:gd name="connsiteX95" fmla="*/ 493424 w 4335550"/>
              <a:gd name="connsiteY95" fmla="*/ 2409675 h 2579546"/>
              <a:gd name="connsiteX96" fmla="*/ 513331 w 4335550"/>
              <a:gd name="connsiteY96" fmla="*/ 2429528 h 2579546"/>
              <a:gd name="connsiteX97" fmla="*/ 526001 w 4335550"/>
              <a:gd name="connsiteY97" fmla="*/ 2424979 h 2579546"/>
              <a:gd name="connsiteX98" fmla="*/ 526302 w 4335550"/>
              <a:gd name="connsiteY98" fmla="*/ 2421820 h 2579546"/>
              <a:gd name="connsiteX99" fmla="*/ 523134 w 4335550"/>
              <a:gd name="connsiteY99" fmla="*/ 2421520 h 2579546"/>
              <a:gd name="connsiteX100" fmla="*/ 513331 w 4335550"/>
              <a:gd name="connsiteY100" fmla="*/ 2425042 h 2579546"/>
              <a:gd name="connsiteX101" fmla="*/ 497906 w 4335550"/>
              <a:gd name="connsiteY101" fmla="*/ 2409660 h 2579546"/>
              <a:gd name="connsiteX102" fmla="*/ 513331 w 4335550"/>
              <a:gd name="connsiteY102" fmla="*/ 2394293 h 2579546"/>
              <a:gd name="connsiteX103" fmla="*/ 523134 w 4335550"/>
              <a:gd name="connsiteY103" fmla="*/ 2397814 h 2579546"/>
              <a:gd name="connsiteX104" fmla="*/ 526302 w 4335550"/>
              <a:gd name="connsiteY104" fmla="*/ 2397514 h 2579546"/>
              <a:gd name="connsiteX105" fmla="*/ 526001 w 4335550"/>
              <a:gd name="connsiteY105" fmla="*/ 2394356 h 2579546"/>
              <a:gd name="connsiteX106" fmla="*/ 513331 w 4335550"/>
              <a:gd name="connsiteY106" fmla="*/ 2389823 h 2579546"/>
              <a:gd name="connsiteX107" fmla="*/ 429648 w 4335550"/>
              <a:gd name="connsiteY107" fmla="*/ 2389823 h 2579546"/>
              <a:gd name="connsiteX108" fmla="*/ 409741 w 4335550"/>
              <a:gd name="connsiteY108" fmla="*/ 2409675 h 2579546"/>
              <a:gd name="connsiteX109" fmla="*/ 429648 w 4335550"/>
              <a:gd name="connsiteY109" fmla="*/ 2429528 h 2579546"/>
              <a:gd name="connsiteX110" fmla="*/ 449555 w 4335550"/>
              <a:gd name="connsiteY110" fmla="*/ 2429528 h 2579546"/>
              <a:gd name="connsiteX111" fmla="*/ 449555 w 4335550"/>
              <a:gd name="connsiteY111" fmla="*/ 2409675 h 2579546"/>
              <a:gd name="connsiteX112" fmla="*/ 429648 w 4335550"/>
              <a:gd name="connsiteY112" fmla="*/ 2389823 h 2579546"/>
              <a:gd name="connsiteX113" fmla="*/ 926061 w 4335550"/>
              <a:gd name="connsiteY113" fmla="*/ 2389807 h 2579546"/>
              <a:gd name="connsiteX114" fmla="*/ 923812 w 4335550"/>
              <a:gd name="connsiteY114" fmla="*/ 2392050 h 2579546"/>
              <a:gd name="connsiteX115" fmla="*/ 923812 w 4335550"/>
              <a:gd name="connsiteY115" fmla="*/ 2427285 h 2579546"/>
              <a:gd name="connsiteX116" fmla="*/ 926061 w 4335550"/>
              <a:gd name="connsiteY116" fmla="*/ 2429527 h 2579546"/>
              <a:gd name="connsiteX117" fmla="*/ 928294 w 4335550"/>
              <a:gd name="connsiteY117" fmla="*/ 2427285 h 2579546"/>
              <a:gd name="connsiteX118" fmla="*/ 928294 w 4335550"/>
              <a:gd name="connsiteY118" fmla="*/ 2392050 h 2579546"/>
              <a:gd name="connsiteX119" fmla="*/ 926061 w 4335550"/>
              <a:gd name="connsiteY119" fmla="*/ 2389807 h 2579546"/>
              <a:gd name="connsiteX120" fmla="*/ 539732 w 4335550"/>
              <a:gd name="connsiteY120" fmla="*/ 2389807 h 2579546"/>
              <a:gd name="connsiteX121" fmla="*/ 537483 w 4335550"/>
              <a:gd name="connsiteY121" fmla="*/ 2392050 h 2579546"/>
              <a:gd name="connsiteX122" fmla="*/ 537483 w 4335550"/>
              <a:gd name="connsiteY122" fmla="*/ 2427285 h 2579546"/>
              <a:gd name="connsiteX123" fmla="*/ 539732 w 4335550"/>
              <a:gd name="connsiteY123" fmla="*/ 2429527 h 2579546"/>
              <a:gd name="connsiteX124" fmla="*/ 541981 w 4335550"/>
              <a:gd name="connsiteY124" fmla="*/ 2427285 h 2579546"/>
              <a:gd name="connsiteX125" fmla="*/ 541981 w 4335550"/>
              <a:gd name="connsiteY125" fmla="*/ 2392050 h 2579546"/>
              <a:gd name="connsiteX126" fmla="*/ 539732 w 4335550"/>
              <a:gd name="connsiteY126" fmla="*/ 2389807 h 2579546"/>
              <a:gd name="connsiteX127" fmla="*/ 371986 w 4335550"/>
              <a:gd name="connsiteY127" fmla="*/ 2389807 h 2579546"/>
              <a:gd name="connsiteX128" fmla="*/ 369737 w 4335550"/>
              <a:gd name="connsiteY128" fmla="*/ 2392050 h 2579546"/>
              <a:gd name="connsiteX129" fmla="*/ 369737 w 4335550"/>
              <a:gd name="connsiteY129" fmla="*/ 2427285 h 2579546"/>
              <a:gd name="connsiteX130" fmla="*/ 371986 w 4335550"/>
              <a:gd name="connsiteY130" fmla="*/ 2429527 h 2579546"/>
              <a:gd name="connsiteX131" fmla="*/ 374235 w 4335550"/>
              <a:gd name="connsiteY131" fmla="*/ 2427285 h 2579546"/>
              <a:gd name="connsiteX132" fmla="*/ 374235 w 4335550"/>
              <a:gd name="connsiteY132" fmla="*/ 2392050 h 2579546"/>
              <a:gd name="connsiteX133" fmla="*/ 371986 w 4335550"/>
              <a:gd name="connsiteY133" fmla="*/ 2389807 h 2579546"/>
              <a:gd name="connsiteX134" fmla="*/ 340882 w 4335550"/>
              <a:gd name="connsiteY134" fmla="*/ 2389807 h 2579546"/>
              <a:gd name="connsiteX135" fmla="*/ 320975 w 4335550"/>
              <a:gd name="connsiteY135" fmla="*/ 2409659 h 2579546"/>
              <a:gd name="connsiteX136" fmla="*/ 340882 w 4335550"/>
              <a:gd name="connsiteY136" fmla="*/ 2429512 h 2579546"/>
              <a:gd name="connsiteX137" fmla="*/ 356292 w 4335550"/>
              <a:gd name="connsiteY137" fmla="*/ 2422215 h 2579546"/>
              <a:gd name="connsiteX138" fmla="*/ 356292 w 4335550"/>
              <a:gd name="connsiteY138" fmla="*/ 2427285 h 2579546"/>
              <a:gd name="connsiteX139" fmla="*/ 340882 w 4335550"/>
              <a:gd name="connsiteY139" fmla="*/ 2442652 h 2579546"/>
              <a:gd name="connsiteX140" fmla="*/ 326708 w 4335550"/>
              <a:gd name="connsiteY140" fmla="*/ 2433349 h 2579546"/>
              <a:gd name="connsiteX141" fmla="*/ 323746 w 4335550"/>
              <a:gd name="connsiteY141" fmla="*/ 2432181 h 2579546"/>
              <a:gd name="connsiteX142" fmla="*/ 322575 w 4335550"/>
              <a:gd name="connsiteY142" fmla="*/ 2435134 h 2579546"/>
              <a:gd name="connsiteX143" fmla="*/ 340882 w 4335550"/>
              <a:gd name="connsiteY143" fmla="*/ 2447153 h 2579546"/>
              <a:gd name="connsiteX144" fmla="*/ 360789 w 4335550"/>
              <a:gd name="connsiteY144" fmla="*/ 2427301 h 2579546"/>
              <a:gd name="connsiteX145" fmla="*/ 360789 w 4335550"/>
              <a:gd name="connsiteY145" fmla="*/ 2409675 h 2579546"/>
              <a:gd name="connsiteX146" fmla="*/ 340882 w 4335550"/>
              <a:gd name="connsiteY146" fmla="*/ 2389823 h 2579546"/>
              <a:gd name="connsiteX147" fmla="*/ 309477 w 4335550"/>
              <a:gd name="connsiteY147" fmla="*/ 2389807 h 2579546"/>
              <a:gd name="connsiteX148" fmla="*/ 307244 w 4335550"/>
              <a:gd name="connsiteY148" fmla="*/ 2392050 h 2579546"/>
              <a:gd name="connsiteX149" fmla="*/ 307244 w 4335550"/>
              <a:gd name="connsiteY149" fmla="*/ 2427285 h 2579546"/>
              <a:gd name="connsiteX150" fmla="*/ 309477 w 4335550"/>
              <a:gd name="connsiteY150" fmla="*/ 2429527 h 2579546"/>
              <a:gd name="connsiteX151" fmla="*/ 311726 w 4335550"/>
              <a:gd name="connsiteY151" fmla="*/ 2427285 h 2579546"/>
              <a:gd name="connsiteX152" fmla="*/ 311726 w 4335550"/>
              <a:gd name="connsiteY152" fmla="*/ 2392050 h 2579546"/>
              <a:gd name="connsiteX153" fmla="*/ 309477 w 4335550"/>
              <a:gd name="connsiteY153" fmla="*/ 2389807 h 2579546"/>
              <a:gd name="connsiteX154" fmla="*/ 782403 w 4335550"/>
              <a:gd name="connsiteY154" fmla="*/ 2389791 h 2579546"/>
              <a:gd name="connsiteX155" fmla="*/ 771444 w 4335550"/>
              <a:gd name="connsiteY155" fmla="*/ 2394355 h 2579546"/>
              <a:gd name="connsiteX156" fmla="*/ 771444 w 4335550"/>
              <a:gd name="connsiteY156" fmla="*/ 2392081 h 2579546"/>
              <a:gd name="connsiteX157" fmla="*/ 769195 w 4335550"/>
              <a:gd name="connsiteY157" fmla="*/ 2389838 h 2579546"/>
              <a:gd name="connsiteX158" fmla="*/ 766946 w 4335550"/>
              <a:gd name="connsiteY158" fmla="*/ 2389838 h 2579546"/>
              <a:gd name="connsiteX159" fmla="*/ 766946 w 4335550"/>
              <a:gd name="connsiteY159" fmla="*/ 2392081 h 2579546"/>
              <a:gd name="connsiteX160" fmla="*/ 766946 w 4335550"/>
              <a:gd name="connsiteY160" fmla="*/ 2427285 h 2579546"/>
              <a:gd name="connsiteX161" fmla="*/ 769195 w 4335550"/>
              <a:gd name="connsiteY161" fmla="*/ 2429527 h 2579546"/>
              <a:gd name="connsiteX162" fmla="*/ 771444 w 4335550"/>
              <a:gd name="connsiteY162" fmla="*/ 2427285 h 2579546"/>
              <a:gd name="connsiteX163" fmla="*/ 771444 w 4335550"/>
              <a:gd name="connsiteY163" fmla="*/ 2405221 h 2579546"/>
              <a:gd name="connsiteX164" fmla="*/ 782403 w 4335550"/>
              <a:gd name="connsiteY164" fmla="*/ 2394292 h 2579546"/>
              <a:gd name="connsiteX165" fmla="*/ 793362 w 4335550"/>
              <a:gd name="connsiteY165" fmla="*/ 2405221 h 2579546"/>
              <a:gd name="connsiteX166" fmla="*/ 793362 w 4335550"/>
              <a:gd name="connsiteY166" fmla="*/ 2427285 h 2579546"/>
              <a:gd name="connsiteX167" fmla="*/ 795611 w 4335550"/>
              <a:gd name="connsiteY167" fmla="*/ 2429527 h 2579546"/>
              <a:gd name="connsiteX168" fmla="*/ 797860 w 4335550"/>
              <a:gd name="connsiteY168" fmla="*/ 2427285 h 2579546"/>
              <a:gd name="connsiteX169" fmla="*/ 797860 w 4335550"/>
              <a:gd name="connsiteY169" fmla="*/ 2405221 h 2579546"/>
              <a:gd name="connsiteX170" fmla="*/ 808819 w 4335550"/>
              <a:gd name="connsiteY170" fmla="*/ 2394292 h 2579546"/>
              <a:gd name="connsiteX171" fmla="*/ 819778 w 4335550"/>
              <a:gd name="connsiteY171" fmla="*/ 2405221 h 2579546"/>
              <a:gd name="connsiteX172" fmla="*/ 819778 w 4335550"/>
              <a:gd name="connsiteY172" fmla="*/ 2427285 h 2579546"/>
              <a:gd name="connsiteX173" fmla="*/ 822027 w 4335550"/>
              <a:gd name="connsiteY173" fmla="*/ 2429527 h 2579546"/>
              <a:gd name="connsiteX174" fmla="*/ 824276 w 4335550"/>
              <a:gd name="connsiteY174" fmla="*/ 2427285 h 2579546"/>
              <a:gd name="connsiteX175" fmla="*/ 824276 w 4335550"/>
              <a:gd name="connsiteY175" fmla="*/ 2405221 h 2579546"/>
              <a:gd name="connsiteX176" fmla="*/ 819743 w 4335550"/>
              <a:gd name="connsiteY176" fmla="*/ 2394320 h 2579546"/>
              <a:gd name="connsiteX177" fmla="*/ 808828 w 4335550"/>
              <a:gd name="connsiteY177" fmla="*/ 2389795 h 2579546"/>
              <a:gd name="connsiteX178" fmla="*/ 808835 w 4335550"/>
              <a:gd name="connsiteY178" fmla="*/ 2389791 h 2579546"/>
              <a:gd name="connsiteX179" fmla="*/ 808819 w 4335550"/>
              <a:gd name="connsiteY179" fmla="*/ 2389791 h 2579546"/>
              <a:gd name="connsiteX180" fmla="*/ 808828 w 4335550"/>
              <a:gd name="connsiteY180" fmla="*/ 2389795 h 2579546"/>
              <a:gd name="connsiteX181" fmla="*/ 795627 w 4335550"/>
              <a:gd name="connsiteY181" fmla="*/ 2397245 h 2579546"/>
              <a:gd name="connsiteX182" fmla="*/ 782403 w 4335550"/>
              <a:gd name="connsiteY182" fmla="*/ 2389791 h 2579546"/>
              <a:gd name="connsiteX183" fmla="*/ 653078 w 4335550"/>
              <a:gd name="connsiteY183" fmla="*/ 2389791 h 2579546"/>
              <a:gd name="connsiteX184" fmla="*/ 642119 w 4335550"/>
              <a:gd name="connsiteY184" fmla="*/ 2394355 h 2579546"/>
              <a:gd name="connsiteX185" fmla="*/ 642119 w 4335550"/>
              <a:gd name="connsiteY185" fmla="*/ 2392081 h 2579546"/>
              <a:gd name="connsiteX186" fmla="*/ 639870 w 4335550"/>
              <a:gd name="connsiteY186" fmla="*/ 2389838 h 2579546"/>
              <a:gd name="connsiteX187" fmla="*/ 637621 w 4335550"/>
              <a:gd name="connsiteY187" fmla="*/ 2389838 h 2579546"/>
              <a:gd name="connsiteX188" fmla="*/ 637621 w 4335550"/>
              <a:gd name="connsiteY188" fmla="*/ 2392081 h 2579546"/>
              <a:gd name="connsiteX189" fmla="*/ 637621 w 4335550"/>
              <a:gd name="connsiteY189" fmla="*/ 2427285 h 2579546"/>
              <a:gd name="connsiteX190" fmla="*/ 639870 w 4335550"/>
              <a:gd name="connsiteY190" fmla="*/ 2429527 h 2579546"/>
              <a:gd name="connsiteX191" fmla="*/ 642119 w 4335550"/>
              <a:gd name="connsiteY191" fmla="*/ 2427285 h 2579546"/>
              <a:gd name="connsiteX192" fmla="*/ 642119 w 4335550"/>
              <a:gd name="connsiteY192" fmla="*/ 2405221 h 2579546"/>
              <a:gd name="connsiteX193" fmla="*/ 653078 w 4335550"/>
              <a:gd name="connsiteY193" fmla="*/ 2394292 h 2579546"/>
              <a:gd name="connsiteX194" fmla="*/ 664037 w 4335550"/>
              <a:gd name="connsiteY194" fmla="*/ 2405221 h 2579546"/>
              <a:gd name="connsiteX195" fmla="*/ 664037 w 4335550"/>
              <a:gd name="connsiteY195" fmla="*/ 2427285 h 2579546"/>
              <a:gd name="connsiteX196" fmla="*/ 666286 w 4335550"/>
              <a:gd name="connsiteY196" fmla="*/ 2429527 h 2579546"/>
              <a:gd name="connsiteX197" fmla="*/ 668535 w 4335550"/>
              <a:gd name="connsiteY197" fmla="*/ 2427285 h 2579546"/>
              <a:gd name="connsiteX198" fmla="*/ 668535 w 4335550"/>
              <a:gd name="connsiteY198" fmla="*/ 2405221 h 2579546"/>
              <a:gd name="connsiteX199" fmla="*/ 679494 w 4335550"/>
              <a:gd name="connsiteY199" fmla="*/ 2394292 h 2579546"/>
              <a:gd name="connsiteX200" fmla="*/ 690453 w 4335550"/>
              <a:gd name="connsiteY200" fmla="*/ 2405221 h 2579546"/>
              <a:gd name="connsiteX201" fmla="*/ 690453 w 4335550"/>
              <a:gd name="connsiteY201" fmla="*/ 2427285 h 2579546"/>
              <a:gd name="connsiteX202" fmla="*/ 692718 w 4335550"/>
              <a:gd name="connsiteY202" fmla="*/ 2429527 h 2579546"/>
              <a:gd name="connsiteX203" fmla="*/ 694951 w 4335550"/>
              <a:gd name="connsiteY203" fmla="*/ 2427285 h 2579546"/>
              <a:gd name="connsiteX204" fmla="*/ 694951 w 4335550"/>
              <a:gd name="connsiteY204" fmla="*/ 2405221 h 2579546"/>
              <a:gd name="connsiteX205" fmla="*/ 679494 w 4335550"/>
              <a:gd name="connsiteY205" fmla="*/ 2389791 h 2579546"/>
              <a:gd name="connsiteX206" fmla="*/ 666286 w 4335550"/>
              <a:gd name="connsiteY206" fmla="*/ 2397245 h 2579546"/>
              <a:gd name="connsiteX207" fmla="*/ 653078 w 4335550"/>
              <a:gd name="connsiteY207" fmla="*/ 2389791 h 2579546"/>
              <a:gd name="connsiteX208" fmla="*/ 923812 w 4335550"/>
              <a:gd name="connsiteY208" fmla="*/ 2377772 h 2579546"/>
              <a:gd name="connsiteX209" fmla="*/ 923812 w 4335550"/>
              <a:gd name="connsiteY209" fmla="*/ 2380015 h 2579546"/>
              <a:gd name="connsiteX210" fmla="*/ 926061 w 4335550"/>
              <a:gd name="connsiteY210" fmla="*/ 2382257 h 2579546"/>
              <a:gd name="connsiteX211" fmla="*/ 928294 w 4335550"/>
              <a:gd name="connsiteY211" fmla="*/ 2380015 h 2579546"/>
              <a:gd name="connsiteX212" fmla="*/ 926061 w 4335550"/>
              <a:gd name="connsiteY212" fmla="*/ 2377772 h 2579546"/>
              <a:gd name="connsiteX213" fmla="*/ 537483 w 4335550"/>
              <a:gd name="connsiteY213" fmla="*/ 2377772 h 2579546"/>
              <a:gd name="connsiteX214" fmla="*/ 537483 w 4335550"/>
              <a:gd name="connsiteY214" fmla="*/ 2380015 h 2579546"/>
              <a:gd name="connsiteX215" fmla="*/ 539732 w 4335550"/>
              <a:gd name="connsiteY215" fmla="*/ 2382257 h 2579546"/>
              <a:gd name="connsiteX216" fmla="*/ 541981 w 4335550"/>
              <a:gd name="connsiteY216" fmla="*/ 2380015 h 2579546"/>
              <a:gd name="connsiteX217" fmla="*/ 539732 w 4335550"/>
              <a:gd name="connsiteY217" fmla="*/ 2377772 h 2579546"/>
              <a:gd name="connsiteX218" fmla="*/ 369737 w 4335550"/>
              <a:gd name="connsiteY218" fmla="*/ 2377772 h 2579546"/>
              <a:gd name="connsiteX219" fmla="*/ 369737 w 4335550"/>
              <a:gd name="connsiteY219" fmla="*/ 2380015 h 2579546"/>
              <a:gd name="connsiteX220" fmla="*/ 371986 w 4335550"/>
              <a:gd name="connsiteY220" fmla="*/ 2382257 h 2579546"/>
              <a:gd name="connsiteX221" fmla="*/ 374235 w 4335550"/>
              <a:gd name="connsiteY221" fmla="*/ 2380015 h 2579546"/>
              <a:gd name="connsiteX222" fmla="*/ 371986 w 4335550"/>
              <a:gd name="connsiteY222" fmla="*/ 2377772 h 2579546"/>
              <a:gd name="connsiteX223" fmla="*/ 307228 w 4335550"/>
              <a:gd name="connsiteY223" fmla="*/ 2377772 h 2579546"/>
              <a:gd name="connsiteX224" fmla="*/ 307228 w 4335550"/>
              <a:gd name="connsiteY224" fmla="*/ 2380015 h 2579546"/>
              <a:gd name="connsiteX225" fmla="*/ 309477 w 4335550"/>
              <a:gd name="connsiteY225" fmla="*/ 2382257 h 2579546"/>
              <a:gd name="connsiteX226" fmla="*/ 311710 w 4335550"/>
              <a:gd name="connsiteY226" fmla="*/ 2380015 h 2579546"/>
              <a:gd name="connsiteX227" fmla="*/ 309477 w 4335550"/>
              <a:gd name="connsiteY227" fmla="*/ 2377772 h 2579546"/>
              <a:gd name="connsiteX228" fmla="*/ 912710 w 4335550"/>
              <a:gd name="connsiteY228" fmla="*/ 2373018 h 2579546"/>
              <a:gd name="connsiteX229" fmla="*/ 910461 w 4335550"/>
              <a:gd name="connsiteY229" fmla="*/ 2375261 h 2579546"/>
              <a:gd name="connsiteX230" fmla="*/ 910461 w 4335550"/>
              <a:gd name="connsiteY230" fmla="*/ 2397119 h 2579546"/>
              <a:gd name="connsiteX231" fmla="*/ 895036 w 4335550"/>
              <a:gd name="connsiteY231" fmla="*/ 2389822 h 2579546"/>
              <a:gd name="connsiteX232" fmla="*/ 875129 w 4335550"/>
              <a:gd name="connsiteY232" fmla="*/ 2409675 h 2579546"/>
              <a:gd name="connsiteX233" fmla="*/ 895036 w 4335550"/>
              <a:gd name="connsiteY233" fmla="*/ 2429527 h 2579546"/>
              <a:gd name="connsiteX234" fmla="*/ 914959 w 4335550"/>
              <a:gd name="connsiteY234" fmla="*/ 2429527 h 2579546"/>
              <a:gd name="connsiteX235" fmla="*/ 914959 w 4335550"/>
              <a:gd name="connsiteY235" fmla="*/ 2375261 h 2579546"/>
              <a:gd name="connsiteX236" fmla="*/ 912710 w 4335550"/>
              <a:gd name="connsiteY236" fmla="*/ 2373018 h 2579546"/>
              <a:gd name="connsiteX237" fmla="*/ 457696 w 4335550"/>
              <a:gd name="connsiteY237" fmla="*/ 2373018 h 2579546"/>
              <a:gd name="connsiteX238" fmla="*/ 455447 w 4335550"/>
              <a:gd name="connsiteY238" fmla="*/ 2375261 h 2579546"/>
              <a:gd name="connsiteX239" fmla="*/ 455447 w 4335550"/>
              <a:gd name="connsiteY239" fmla="*/ 2423857 h 2579546"/>
              <a:gd name="connsiteX240" fmla="*/ 461132 w 4335550"/>
              <a:gd name="connsiteY240" fmla="*/ 2429527 h 2579546"/>
              <a:gd name="connsiteX241" fmla="*/ 463381 w 4335550"/>
              <a:gd name="connsiteY241" fmla="*/ 2427284 h 2579546"/>
              <a:gd name="connsiteX242" fmla="*/ 461132 w 4335550"/>
              <a:gd name="connsiteY242" fmla="*/ 2425042 h 2579546"/>
              <a:gd name="connsiteX243" fmla="*/ 459945 w 4335550"/>
              <a:gd name="connsiteY243" fmla="*/ 2423857 h 2579546"/>
              <a:gd name="connsiteX244" fmla="*/ 459945 w 4335550"/>
              <a:gd name="connsiteY244" fmla="*/ 2375261 h 2579546"/>
              <a:gd name="connsiteX245" fmla="*/ 457696 w 4335550"/>
              <a:gd name="connsiteY245" fmla="*/ 2373018 h 2579546"/>
              <a:gd name="connsiteX246" fmla="*/ 391624 w 4335550"/>
              <a:gd name="connsiteY246" fmla="*/ 2373003 h 2579546"/>
              <a:gd name="connsiteX247" fmla="*/ 389375 w 4335550"/>
              <a:gd name="connsiteY247" fmla="*/ 2375246 h 2579546"/>
              <a:gd name="connsiteX248" fmla="*/ 389375 w 4335550"/>
              <a:gd name="connsiteY248" fmla="*/ 2389807 h 2579546"/>
              <a:gd name="connsiteX249" fmla="*/ 385606 w 4335550"/>
              <a:gd name="connsiteY249" fmla="*/ 2389807 h 2579546"/>
              <a:gd name="connsiteX250" fmla="*/ 383357 w 4335550"/>
              <a:gd name="connsiteY250" fmla="*/ 2392050 h 2579546"/>
              <a:gd name="connsiteX251" fmla="*/ 385606 w 4335550"/>
              <a:gd name="connsiteY251" fmla="*/ 2394293 h 2579546"/>
              <a:gd name="connsiteX252" fmla="*/ 389375 w 4335550"/>
              <a:gd name="connsiteY252" fmla="*/ 2394293 h 2579546"/>
              <a:gd name="connsiteX253" fmla="*/ 389375 w 4335550"/>
              <a:gd name="connsiteY253" fmla="*/ 2417604 h 2579546"/>
              <a:gd name="connsiteX254" fmla="*/ 401316 w 4335550"/>
              <a:gd name="connsiteY254" fmla="*/ 2429512 h 2579546"/>
              <a:gd name="connsiteX255" fmla="*/ 403977 w 4335550"/>
              <a:gd name="connsiteY255" fmla="*/ 2429212 h 2579546"/>
              <a:gd name="connsiteX256" fmla="*/ 405664 w 4335550"/>
              <a:gd name="connsiteY256" fmla="*/ 2426539 h 2579546"/>
              <a:gd name="connsiteX257" fmla="*/ 405671 w 4335550"/>
              <a:gd name="connsiteY257" fmla="*/ 2426543 h 2579546"/>
              <a:gd name="connsiteX258" fmla="*/ 405671 w 4335550"/>
              <a:gd name="connsiteY258" fmla="*/ 2426527 h 2579546"/>
              <a:gd name="connsiteX259" fmla="*/ 405664 w 4335550"/>
              <a:gd name="connsiteY259" fmla="*/ 2426539 h 2579546"/>
              <a:gd name="connsiteX260" fmla="*/ 402979 w 4335550"/>
              <a:gd name="connsiteY260" fmla="*/ 2424853 h 2579546"/>
              <a:gd name="connsiteX261" fmla="*/ 401316 w 4335550"/>
              <a:gd name="connsiteY261" fmla="*/ 2425042 h 2579546"/>
              <a:gd name="connsiteX262" fmla="*/ 393873 w 4335550"/>
              <a:gd name="connsiteY262" fmla="*/ 2417604 h 2579546"/>
              <a:gd name="connsiteX263" fmla="*/ 393873 w 4335550"/>
              <a:gd name="connsiteY263" fmla="*/ 2394293 h 2579546"/>
              <a:gd name="connsiteX264" fmla="*/ 400208 w 4335550"/>
              <a:gd name="connsiteY264" fmla="*/ 2394293 h 2579546"/>
              <a:gd name="connsiteX265" fmla="*/ 402456 w 4335550"/>
              <a:gd name="connsiteY265" fmla="*/ 2392050 h 2579546"/>
              <a:gd name="connsiteX266" fmla="*/ 400208 w 4335550"/>
              <a:gd name="connsiteY266" fmla="*/ 2389807 h 2579546"/>
              <a:gd name="connsiteX267" fmla="*/ 393873 w 4335550"/>
              <a:gd name="connsiteY267" fmla="*/ 2389807 h 2579546"/>
              <a:gd name="connsiteX268" fmla="*/ 393873 w 4335550"/>
              <a:gd name="connsiteY268" fmla="*/ 2375246 h 2579546"/>
              <a:gd name="connsiteX269" fmla="*/ 391624 w 4335550"/>
              <a:gd name="connsiteY269" fmla="*/ 2373003 h 2579546"/>
              <a:gd name="connsiteX270" fmla="*/ 296174 w 4335550"/>
              <a:gd name="connsiteY270" fmla="*/ 2373003 h 2579546"/>
              <a:gd name="connsiteX271" fmla="*/ 293926 w 4335550"/>
              <a:gd name="connsiteY271" fmla="*/ 2375246 h 2579546"/>
              <a:gd name="connsiteX272" fmla="*/ 293926 w 4335550"/>
              <a:gd name="connsiteY272" fmla="*/ 2397104 h 2579546"/>
              <a:gd name="connsiteX273" fmla="*/ 278516 w 4335550"/>
              <a:gd name="connsiteY273" fmla="*/ 2389807 h 2579546"/>
              <a:gd name="connsiteX274" fmla="*/ 258609 w 4335550"/>
              <a:gd name="connsiteY274" fmla="*/ 2409660 h 2579546"/>
              <a:gd name="connsiteX275" fmla="*/ 278516 w 4335550"/>
              <a:gd name="connsiteY275" fmla="*/ 2429528 h 2579546"/>
              <a:gd name="connsiteX276" fmla="*/ 298423 w 4335550"/>
              <a:gd name="connsiteY276" fmla="*/ 2429528 h 2579546"/>
              <a:gd name="connsiteX277" fmla="*/ 298423 w 4335550"/>
              <a:gd name="connsiteY277" fmla="*/ 2429512 h 2579546"/>
              <a:gd name="connsiteX278" fmla="*/ 298423 w 4335550"/>
              <a:gd name="connsiteY278" fmla="*/ 2375246 h 2579546"/>
              <a:gd name="connsiteX279" fmla="*/ 296174 w 4335550"/>
              <a:gd name="connsiteY279" fmla="*/ 2373003 h 2579546"/>
              <a:gd name="connsiteX280" fmla="*/ 533786 w 4335550"/>
              <a:gd name="connsiteY280" fmla="*/ 2268131 h 2579546"/>
              <a:gd name="connsiteX281" fmla="*/ 533794 w 4335550"/>
              <a:gd name="connsiteY281" fmla="*/ 2268151 h 2579546"/>
              <a:gd name="connsiteX282" fmla="*/ 533786 w 4335550"/>
              <a:gd name="connsiteY282" fmla="*/ 2268171 h 2579546"/>
              <a:gd name="connsiteX283" fmla="*/ 533778 w 4335550"/>
              <a:gd name="connsiteY283" fmla="*/ 2268151 h 2579546"/>
              <a:gd name="connsiteX284" fmla="*/ 258609 w 4335550"/>
              <a:gd name="connsiteY284" fmla="*/ 2198249 h 2579546"/>
              <a:gd name="connsiteX285" fmla="*/ 258609 w 4335550"/>
              <a:gd name="connsiteY285" fmla="*/ 2268151 h 2579546"/>
              <a:gd name="connsiteX286" fmla="*/ 327405 w 4335550"/>
              <a:gd name="connsiteY286" fmla="*/ 2338068 h 2579546"/>
              <a:gd name="connsiteX287" fmla="*/ 396201 w 4335550"/>
              <a:gd name="connsiteY287" fmla="*/ 2268151 h 2579546"/>
              <a:gd name="connsiteX288" fmla="*/ 464997 w 4335550"/>
              <a:gd name="connsiteY288" fmla="*/ 2338068 h 2579546"/>
              <a:gd name="connsiteX289" fmla="*/ 513643 w 4335550"/>
              <a:gd name="connsiteY289" fmla="*/ 2317596 h 2579546"/>
              <a:gd name="connsiteX290" fmla="*/ 533786 w 4335550"/>
              <a:gd name="connsiteY290" fmla="*/ 2268171 h 2579546"/>
              <a:gd name="connsiteX291" fmla="*/ 553923 w 4335550"/>
              <a:gd name="connsiteY291" fmla="*/ 2317590 h 2579546"/>
              <a:gd name="connsiteX292" fmla="*/ 602574 w 4335550"/>
              <a:gd name="connsiteY292" fmla="*/ 2338068 h 2579546"/>
              <a:gd name="connsiteX293" fmla="*/ 636972 w 4335550"/>
              <a:gd name="connsiteY293" fmla="*/ 2328703 h 2579546"/>
              <a:gd name="connsiteX294" fmla="*/ 671370 w 4335550"/>
              <a:gd name="connsiteY294" fmla="*/ 2338068 h 2579546"/>
              <a:gd name="connsiteX295" fmla="*/ 740166 w 4335550"/>
              <a:gd name="connsiteY295" fmla="*/ 2268151 h 2579546"/>
              <a:gd name="connsiteX296" fmla="*/ 671386 w 4335550"/>
              <a:gd name="connsiteY296" fmla="*/ 2198249 h 2579546"/>
              <a:gd name="connsiteX297" fmla="*/ 636988 w 4335550"/>
              <a:gd name="connsiteY297" fmla="*/ 2207599 h 2579546"/>
              <a:gd name="connsiteX298" fmla="*/ 636972 w 4335550"/>
              <a:gd name="connsiteY298" fmla="*/ 2207599 h 2579546"/>
              <a:gd name="connsiteX299" fmla="*/ 602574 w 4335550"/>
              <a:gd name="connsiteY299" fmla="*/ 2198249 h 2579546"/>
              <a:gd name="connsiteX300" fmla="*/ 553923 w 4335550"/>
              <a:gd name="connsiteY300" fmla="*/ 2218719 h 2579546"/>
              <a:gd name="connsiteX301" fmla="*/ 533786 w 4335550"/>
              <a:gd name="connsiteY301" fmla="*/ 2268131 h 2579546"/>
              <a:gd name="connsiteX302" fmla="*/ 513637 w 4335550"/>
              <a:gd name="connsiteY302" fmla="*/ 2218713 h 2579546"/>
              <a:gd name="connsiteX303" fmla="*/ 464997 w 4335550"/>
              <a:gd name="connsiteY303" fmla="*/ 2198249 h 2579546"/>
              <a:gd name="connsiteX304" fmla="*/ 396201 w 4335550"/>
              <a:gd name="connsiteY304" fmla="*/ 2268151 h 2579546"/>
              <a:gd name="connsiteX305" fmla="*/ 327405 w 4335550"/>
              <a:gd name="connsiteY305" fmla="*/ 2198249 h 2579546"/>
              <a:gd name="connsiteX306" fmla="*/ 0 w 4335550"/>
              <a:gd name="connsiteY306" fmla="*/ 0 h 2579546"/>
              <a:gd name="connsiteX307" fmla="*/ 4335550 w 4335550"/>
              <a:gd name="connsiteY307" fmla="*/ 0 h 2579546"/>
              <a:gd name="connsiteX308" fmla="*/ 4335550 w 4335550"/>
              <a:gd name="connsiteY308" fmla="*/ 2579546 h 2579546"/>
              <a:gd name="connsiteX309" fmla="*/ 0 w 4335550"/>
              <a:gd name="connsiteY309" fmla="*/ 2579546 h 257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335550" h="2579546">
                <a:moveTo>
                  <a:pt x="956975" y="2394293"/>
                </a:moveTo>
                <a:cubicBezTo>
                  <a:pt x="965480" y="2394293"/>
                  <a:pt x="972400" y="2401194"/>
                  <a:pt x="972400" y="2409660"/>
                </a:cubicBezTo>
                <a:lnTo>
                  <a:pt x="972400" y="2425042"/>
                </a:lnTo>
                <a:lnTo>
                  <a:pt x="956975" y="2425042"/>
                </a:lnTo>
                <a:cubicBezTo>
                  <a:pt x="948486" y="2425042"/>
                  <a:pt x="941566" y="2418125"/>
                  <a:pt x="941566" y="2409660"/>
                </a:cubicBezTo>
                <a:cubicBezTo>
                  <a:pt x="941566" y="2401194"/>
                  <a:pt x="948471" y="2394293"/>
                  <a:pt x="956975" y="2394293"/>
                </a:cubicBezTo>
                <a:close/>
                <a:moveTo>
                  <a:pt x="849077" y="2394293"/>
                </a:moveTo>
                <a:cubicBezTo>
                  <a:pt x="856806" y="2394293"/>
                  <a:pt x="863236" y="2400010"/>
                  <a:pt x="864328" y="2407417"/>
                </a:cubicBezTo>
                <a:lnTo>
                  <a:pt x="833826" y="2407417"/>
                </a:lnTo>
                <a:cubicBezTo>
                  <a:pt x="834919" y="2400010"/>
                  <a:pt x="841349" y="2394293"/>
                  <a:pt x="849077" y="2394293"/>
                </a:cubicBezTo>
                <a:close/>
                <a:moveTo>
                  <a:pt x="720496" y="2394293"/>
                </a:moveTo>
                <a:cubicBezTo>
                  <a:pt x="729001" y="2394293"/>
                  <a:pt x="735922" y="2401194"/>
                  <a:pt x="735922" y="2409660"/>
                </a:cubicBezTo>
                <a:lnTo>
                  <a:pt x="735922" y="2425042"/>
                </a:lnTo>
                <a:lnTo>
                  <a:pt x="720496" y="2425042"/>
                </a:lnTo>
                <a:cubicBezTo>
                  <a:pt x="712008" y="2425042"/>
                  <a:pt x="705087" y="2418125"/>
                  <a:pt x="705087" y="2409660"/>
                </a:cubicBezTo>
                <a:cubicBezTo>
                  <a:pt x="705087" y="2401194"/>
                  <a:pt x="712008" y="2394293"/>
                  <a:pt x="720496" y="2394293"/>
                </a:cubicBezTo>
                <a:close/>
                <a:moveTo>
                  <a:pt x="612646" y="2394293"/>
                </a:moveTo>
                <a:cubicBezTo>
                  <a:pt x="620375" y="2394293"/>
                  <a:pt x="626805" y="2400010"/>
                  <a:pt x="627897" y="2407417"/>
                </a:cubicBezTo>
                <a:lnTo>
                  <a:pt x="597395" y="2407417"/>
                </a:lnTo>
                <a:cubicBezTo>
                  <a:pt x="598472" y="2400010"/>
                  <a:pt x="604918" y="2394293"/>
                  <a:pt x="612646" y="2394293"/>
                </a:cubicBezTo>
                <a:close/>
                <a:moveTo>
                  <a:pt x="429632" y="2394293"/>
                </a:moveTo>
                <a:cubicBezTo>
                  <a:pt x="438137" y="2394293"/>
                  <a:pt x="445042" y="2401194"/>
                  <a:pt x="445042" y="2409660"/>
                </a:cubicBezTo>
                <a:lnTo>
                  <a:pt x="445042" y="2425042"/>
                </a:lnTo>
                <a:lnTo>
                  <a:pt x="429632" y="2425042"/>
                </a:lnTo>
                <a:cubicBezTo>
                  <a:pt x="421128" y="2425042"/>
                  <a:pt x="414223" y="2418125"/>
                  <a:pt x="414223" y="2409660"/>
                </a:cubicBezTo>
                <a:cubicBezTo>
                  <a:pt x="414223" y="2401194"/>
                  <a:pt x="421128" y="2394293"/>
                  <a:pt x="429632" y="2394293"/>
                </a:cubicBezTo>
                <a:close/>
                <a:moveTo>
                  <a:pt x="278516" y="2394293"/>
                </a:moveTo>
                <a:cubicBezTo>
                  <a:pt x="287005" y="2394293"/>
                  <a:pt x="293926" y="2401194"/>
                  <a:pt x="293926" y="2409660"/>
                </a:cubicBezTo>
                <a:lnTo>
                  <a:pt x="293926" y="2425042"/>
                </a:lnTo>
                <a:lnTo>
                  <a:pt x="278516" y="2425042"/>
                </a:lnTo>
                <a:cubicBezTo>
                  <a:pt x="270028" y="2425042"/>
                  <a:pt x="263107" y="2418125"/>
                  <a:pt x="263107" y="2409660"/>
                </a:cubicBezTo>
                <a:cubicBezTo>
                  <a:pt x="263107" y="2401194"/>
                  <a:pt x="270028" y="2394293"/>
                  <a:pt x="278516" y="2394293"/>
                </a:cubicBezTo>
                <a:close/>
                <a:moveTo>
                  <a:pt x="895052" y="2394292"/>
                </a:moveTo>
                <a:cubicBezTo>
                  <a:pt x="903556" y="2394292"/>
                  <a:pt x="910477" y="2401193"/>
                  <a:pt x="910477" y="2409659"/>
                </a:cubicBezTo>
                <a:lnTo>
                  <a:pt x="910477" y="2425042"/>
                </a:lnTo>
                <a:lnTo>
                  <a:pt x="895052" y="2425042"/>
                </a:lnTo>
                <a:cubicBezTo>
                  <a:pt x="886563" y="2425042"/>
                  <a:pt x="879643" y="2418124"/>
                  <a:pt x="879643" y="2409659"/>
                </a:cubicBezTo>
                <a:cubicBezTo>
                  <a:pt x="879643" y="2401193"/>
                  <a:pt x="886563" y="2394292"/>
                  <a:pt x="895052" y="2394292"/>
                </a:cubicBezTo>
                <a:close/>
                <a:moveTo>
                  <a:pt x="340882" y="2394292"/>
                </a:moveTo>
                <a:cubicBezTo>
                  <a:pt x="349371" y="2394292"/>
                  <a:pt x="356292" y="2401178"/>
                  <a:pt x="356292" y="2409659"/>
                </a:cubicBezTo>
                <a:cubicBezTo>
                  <a:pt x="356292" y="2418140"/>
                  <a:pt x="349371" y="2425042"/>
                  <a:pt x="340882" y="2425042"/>
                </a:cubicBezTo>
                <a:cubicBezTo>
                  <a:pt x="332394" y="2425042"/>
                  <a:pt x="325473" y="2418140"/>
                  <a:pt x="325473" y="2409659"/>
                </a:cubicBezTo>
                <a:cubicBezTo>
                  <a:pt x="325473" y="2401178"/>
                  <a:pt x="332394" y="2394292"/>
                  <a:pt x="340882" y="2394292"/>
                </a:cubicBezTo>
                <a:close/>
                <a:moveTo>
                  <a:pt x="550105" y="2389838"/>
                </a:moveTo>
                <a:lnTo>
                  <a:pt x="550105" y="2427284"/>
                </a:lnTo>
                <a:cubicBezTo>
                  <a:pt x="550105" y="2428516"/>
                  <a:pt x="551119" y="2429527"/>
                  <a:pt x="552354" y="2429527"/>
                </a:cubicBezTo>
                <a:cubicBezTo>
                  <a:pt x="553589" y="2429527"/>
                  <a:pt x="554603" y="2428516"/>
                  <a:pt x="554603" y="2427284"/>
                </a:cubicBezTo>
                <a:lnTo>
                  <a:pt x="554603" y="2413118"/>
                </a:lnTo>
                <a:lnTo>
                  <a:pt x="554603" y="2408032"/>
                </a:lnTo>
                <a:cubicBezTo>
                  <a:pt x="554603" y="2400467"/>
                  <a:pt x="560779" y="2394323"/>
                  <a:pt x="568365" y="2394323"/>
                </a:cubicBezTo>
                <a:cubicBezTo>
                  <a:pt x="575951" y="2394323"/>
                  <a:pt x="582128" y="2400483"/>
                  <a:pt x="582128" y="2408048"/>
                </a:cubicBezTo>
                <a:lnTo>
                  <a:pt x="582128" y="2427284"/>
                </a:lnTo>
                <a:cubicBezTo>
                  <a:pt x="582128" y="2428516"/>
                  <a:pt x="583141" y="2429527"/>
                  <a:pt x="584376" y="2429527"/>
                </a:cubicBezTo>
                <a:cubicBezTo>
                  <a:pt x="585612" y="2429527"/>
                  <a:pt x="586625" y="2428516"/>
                  <a:pt x="586625" y="2427284"/>
                </a:cubicBezTo>
                <a:lnTo>
                  <a:pt x="586625" y="2408048"/>
                </a:lnTo>
                <a:cubicBezTo>
                  <a:pt x="586625" y="2398003"/>
                  <a:pt x="578437" y="2389838"/>
                  <a:pt x="568381" y="2389838"/>
                </a:cubicBezTo>
                <a:lnTo>
                  <a:pt x="568365" y="2389838"/>
                </a:lnTo>
                <a:cubicBezTo>
                  <a:pt x="562870" y="2389838"/>
                  <a:pt x="557960" y="2392270"/>
                  <a:pt x="554603" y="2396092"/>
                </a:cubicBezTo>
                <a:lnTo>
                  <a:pt x="554603" y="2392081"/>
                </a:lnTo>
                <a:cubicBezTo>
                  <a:pt x="554603" y="2390833"/>
                  <a:pt x="553605" y="2389838"/>
                  <a:pt x="552354" y="2389838"/>
                </a:cubicBezTo>
                <a:close/>
                <a:moveTo>
                  <a:pt x="956975" y="2389823"/>
                </a:moveTo>
                <a:cubicBezTo>
                  <a:pt x="946000" y="2389823"/>
                  <a:pt x="937068" y="2398730"/>
                  <a:pt x="937068" y="2409675"/>
                </a:cubicBezTo>
                <a:cubicBezTo>
                  <a:pt x="937068" y="2420620"/>
                  <a:pt x="946000" y="2429528"/>
                  <a:pt x="956975" y="2429528"/>
                </a:cubicBezTo>
                <a:lnTo>
                  <a:pt x="976882" y="2429528"/>
                </a:lnTo>
                <a:lnTo>
                  <a:pt x="976882" y="2409675"/>
                </a:lnTo>
                <a:cubicBezTo>
                  <a:pt x="976882" y="2398730"/>
                  <a:pt x="967950" y="2389823"/>
                  <a:pt x="956975" y="2389823"/>
                </a:cubicBezTo>
                <a:close/>
                <a:moveTo>
                  <a:pt x="849077" y="2389823"/>
                </a:moveTo>
                <a:cubicBezTo>
                  <a:pt x="838102" y="2389823"/>
                  <a:pt x="829170" y="2398730"/>
                  <a:pt x="829170" y="2409675"/>
                </a:cubicBezTo>
                <a:cubicBezTo>
                  <a:pt x="829170" y="2420620"/>
                  <a:pt x="838102" y="2429528"/>
                  <a:pt x="849077" y="2429528"/>
                </a:cubicBezTo>
                <a:cubicBezTo>
                  <a:pt x="853527" y="2429528"/>
                  <a:pt x="857756" y="2428090"/>
                  <a:pt x="861272" y="2425374"/>
                </a:cubicBezTo>
                <a:cubicBezTo>
                  <a:pt x="862254" y="2424616"/>
                  <a:pt x="862428" y="2423210"/>
                  <a:pt x="861668" y="2422231"/>
                </a:cubicBezTo>
                <a:cubicBezTo>
                  <a:pt x="860907" y="2421252"/>
                  <a:pt x="859498" y="2421094"/>
                  <a:pt x="858516" y="2421836"/>
                </a:cubicBezTo>
                <a:cubicBezTo>
                  <a:pt x="855792" y="2423937"/>
                  <a:pt x="852530" y="2425058"/>
                  <a:pt x="849077" y="2425058"/>
                </a:cubicBezTo>
                <a:cubicBezTo>
                  <a:pt x="841349" y="2425058"/>
                  <a:pt x="834919" y="2419341"/>
                  <a:pt x="833826" y="2411918"/>
                </a:cubicBezTo>
                <a:lnTo>
                  <a:pt x="866735" y="2411918"/>
                </a:lnTo>
                <a:cubicBezTo>
                  <a:pt x="867971" y="2411918"/>
                  <a:pt x="868984" y="2410923"/>
                  <a:pt x="868984" y="2409675"/>
                </a:cubicBezTo>
                <a:cubicBezTo>
                  <a:pt x="868984" y="2398730"/>
                  <a:pt x="860052" y="2389823"/>
                  <a:pt x="849077" y="2389823"/>
                </a:cubicBezTo>
                <a:close/>
                <a:moveTo>
                  <a:pt x="720496" y="2389823"/>
                </a:moveTo>
                <a:cubicBezTo>
                  <a:pt x="709521" y="2389823"/>
                  <a:pt x="700589" y="2398730"/>
                  <a:pt x="700589" y="2409675"/>
                </a:cubicBezTo>
                <a:cubicBezTo>
                  <a:pt x="700589" y="2420620"/>
                  <a:pt x="709521" y="2429528"/>
                  <a:pt x="720496" y="2429528"/>
                </a:cubicBezTo>
                <a:lnTo>
                  <a:pt x="740419" y="2429528"/>
                </a:lnTo>
                <a:lnTo>
                  <a:pt x="740419" y="2409675"/>
                </a:lnTo>
                <a:cubicBezTo>
                  <a:pt x="740419" y="2398730"/>
                  <a:pt x="731471" y="2389823"/>
                  <a:pt x="720496" y="2389823"/>
                </a:cubicBezTo>
                <a:close/>
                <a:moveTo>
                  <a:pt x="612646" y="2389823"/>
                </a:moveTo>
                <a:cubicBezTo>
                  <a:pt x="601671" y="2389823"/>
                  <a:pt x="592739" y="2398730"/>
                  <a:pt x="592739" y="2409675"/>
                </a:cubicBezTo>
                <a:cubicBezTo>
                  <a:pt x="592739" y="2420620"/>
                  <a:pt x="601671" y="2429528"/>
                  <a:pt x="612646" y="2429528"/>
                </a:cubicBezTo>
                <a:cubicBezTo>
                  <a:pt x="617112" y="2429528"/>
                  <a:pt x="621325" y="2428090"/>
                  <a:pt x="624841" y="2425374"/>
                </a:cubicBezTo>
                <a:cubicBezTo>
                  <a:pt x="625823" y="2424616"/>
                  <a:pt x="625997" y="2423210"/>
                  <a:pt x="625237" y="2422231"/>
                </a:cubicBezTo>
                <a:cubicBezTo>
                  <a:pt x="624476" y="2421252"/>
                  <a:pt x="623067" y="2421094"/>
                  <a:pt x="622085" y="2421836"/>
                </a:cubicBezTo>
                <a:cubicBezTo>
                  <a:pt x="619361" y="2423937"/>
                  <a:pt x="616099" y="2425058"/>
                  <a:pt x="612646" y="2425058"/>
                </a:cubicBezTo>
                <a:cubicBezTo>
                  <a:pt x="604902" y="2425058"/>
                  <a:pt x="598472" y="2419341"/>
                  <a:pt x="597395" y="2411918"/>
                </a:cubicBezTo>
                <a:lnTo>
                  <a:pt x="630304" y="2411918"/>
                </a:lnTo>
                <a:cubicBezTo>
                  <a:pt x="631540" y="2411918"/>
                  <a:pt x="632553" y="2410923"/>
                  <a:pt x="632553" y="2409675"/>
                </a:cubicBezTo>
                <a:cubicBezTo>
                  <a:pt x="632553" y="2398730"/>
                  <a:pt x="623621" y="2389823"/>
                  <a:pt x="612646" y="2389823"/>
                </a:cubicBezTo>
                <a:close/>
                <a:moveTo>
                  <a:pt x="513331" y="2389823"/>
                </a:moveTo>
                <a:cubicBezTo>
                  <a:pt x="502356" y="2389823"/>
                  <a:pt x="493424" y="2398730"/>
                  <a:pt x="493424" y="2409675"/>
                </a:cubicBezTo>
                <a:cubicBezTo>
                  <a:pt x="493424" y="2420620"/>
                  <a:pt x="502356" y="2429528"/>
                  <a:pt x="513331" y="2429528"/>
                </a:cubicBezTo>
                <a:cubicBezTo>
                  <a:pt x="517940" y="2429528"/>
                  <a:pt x="522437" y="2427917"/>
                  <a:pt x="526001" y="2424979"/>
                </a:cubicBezTo>
                <a:cubicBezTo>
                  <a:pt x="526951" y="2424189"/>
                  <a:pt x="527094" y="2422784"/>
                  <a:pt x="526302" y="2421820"/>
                </a:cubicBezTo>
                <a:cubicBezTo>
                  <a:pt x="525510" y="2420873"/>
                  <a:pt x="524100" y="2420747"/>
                  <a:pt x="523134" y="2421520"/>
                </a:cubicBezTo>
                <a:cubicBezTo>
                  <a:pt x="520394" y="2423795"/>
                  <a:pt x="516894" y="2425042"/>
                  <a:pt x="513331" y="2425042"/>
                </a:cubicBezTo>
                <a:cubicBezTo>
                  <a:pt x="504827" y="2425042"/>
                  <a:pt x="497906" y="2418125"/>
                  <a:pt x="497906" y="2409660"/>
                </a:cubicBezTo>
                <a:cubicBezTo>
                  <a:pt x="497906" y="2401194"/>
                  <a:pt x="504827" y="2394293"/>
                  <a:pt x="513331" y="2394293"/>
                </a:cubicBezTo>
                <a:cubicBezTo>
                  <a:pt x="516894" y="2394293"/>
                  <a:pt x="520379" y="2395540"/>
                  <a:pt x="523134" y="2397814"/>
                </a:cubicBezTo>
                <a:cubicBezTo>
                  <a:pt x="524100" y="2398604"/>
                  <a:pt x="525510" y="2398478"/>
                  <a:pt x="526302" y="2397514"/>
                </a:cubicBezTo>
                <a:cubicBezTo>
                  <a:pt x="527094" y="2396551"/>
                  <a:pt x="526967" y="2395145"/>
                  <a:pt x="526001" y="2394356"/>
                </a:cubicBezTo>
                <a:cubicBezTo>
                  <a:pt x="522453" y="2391434"/>
                  <a:pt x="517940" y="2389823"/>
                  <a:pt x="513331" y="2389823"/>
                </a:cubicBezTo>
                <a:close/>
                <a:moveTo>
                  <a:pt x="429648" y="2389823"/>
                </a:moveTo>
                <a:cubicBezTo>
                  <a:pt x="418689" y="2389823"/>
                  <a:pt x="409741" y="2398730"/>
                  <a:pt x="409741" y="2409675"/>
                </a:cubicBezTo>
                <a:cubicBezTo>
                  <a:pt x="409741" y="2420620"/>
                  <a:pt x="418673" y="2429528"/>
                  <a:pt x="429648" y="2429528"/>
                </a:cubicBezTo>
                <a:lnTo>
                  <a:pt x="449555" y="2429528"/>
                </a:lnTo>
                <a:lnTo>
                  <a:pt x="449555" y="2409675"/>
                </a:lnTo>
                <a:cubicBezTo>
                  <a:pt x="449555" y="2398730"/>
                  <a:pt x="440607" y="2389823"/>
                  <a:pt x="429648" y="2389823"/>
                </a:cubicBezTo>
                <a:close/>
                <a:moveTo>
                  <a:pt x="926061" y="2389807"/>
                </a:moveTo>
                <a:cubicBezTo>
                  <a:pt x="924826" y="2389807"/>
                  <a:pt x="923812" y="2390802"/>
                  <a:pt x="923812" y="2392050"/>
                </a:cubicBezTo>
                <a:lnTo>
                  <a:pt x="923812" y="2427285"/>
                </a:lnTo>
                <a:cubicBezTo>
                  <a:pt x="923812" y="2428517"/>
                  <a:pt x="924826" y="2429527"/>
                  <a:pt x="926061" y="2429527"/>
                </a:cubicBezTo>
                <a:cubicBezTo>
                  <a:pt x="927296" y="2429527"/>
                  <a:pt x="928294" y="2428517"/>
                  <a:pt x="928294" y="2427285"/>
                </a:cubicBezTo>
                <a:lnTo>
                  <a:pt x="928294" y="2392050"/>
                </a:lnTo>
                <a:cubicBezTo>
                  <a:pt x="928294" y="2390802"/>
                  <a:pt x="927296" y="2389807"/>
                  <a:pt x="926061" y="2389807"/>
                </a:cubicBezTo>
                <a:close/>
                <a:moveTo>
                  <a:pt x="539732" y="2389807"/>
                </a:moveTo>
                <a:cubicBezTo>
                  <a:pt x="538497" y="2389807"/>
                  <a:pt x="537483" y="2390802"/>
                  <a:pt x="537483" y="2392050"/>
                </a:cubicBezTo>
                <a:lnTo>
                  <a:pt x="537483" y="2427285"/>
                </a:lnTo>
                <a:cubicBezTo>
                  <a:pt x="537483" y="2428517"/>
                  <a:pt x="538481" y="2429527"/>
                  <a:pt x="539732" y="2429527"/>
                </a:cubicBezTo>
                <a:cubicBezTo>
                  <a:pt x="540983" y="2429527"/>
                  <a:pt x="541981" y="2428517"/>
                  <a:pt x="541981" y="2427285"/>
                </a:cubicBezTo>
                <a:lnTo>
                  <a:pt x="541981" y="2392050"/>
                </a:lnTo>
                <a:cubicBezTo>
                  <a:pt x="541981" y="2390802"/>
                  <a:pt x="540967" y="2389807"/>
                  <a:pt x="539732" y="2389807"/>
                </a:cubicBezTo>
                <a:close/>
                <a:moveTo>
                  <a:pt x="371986" y="2389807"/>
                </a:moveTo>
                <a:cubicBezTo>
                  <a:pt x="370751" y="2389807"/>
                  <a:pt x="369737" y="2390802"/>
                  <a:pt x="369737" y="2392050"/>
                </a:cubicBezTo>
                <a:lnTo>
                  <a:pt x="369737" y="2427285"/>
                </a:lnTo>
                <a:cubicBezTo>
                  <a:pt x="369737" y="2428517"/>
                  <a:pt x="370751" y="2429527"/>
                  <a:pt x="371986" y="2429527"/>
                </a:cubicBezTo>
                <a:cubicBezTo>
                  <a:pt x="373237" y="2429527"/>
                  <a:pt x="374235" y="2428517"/>
                  <a:pt x="374235" y="2427285"/>
                </a:cubicBezTo>
                <a:lnTo>
                  <a:pt x="374235" y="2392050"/>
                </a:lnTo>
                <a:cubicBezTo>
                  <a:pt x="374235" y="2390802"/>
                  <a:pt x="373221" y="2389807"/>
                  <a:pt x="371986" y="2389807"/>
                </a:cubicBezTo>
                <a:close/>
                <a:moveTo>
                  <a:pt x="340882" y="2389807"/>
                </a:moveTo>
                <a:cubicBezTo>
                  <a:pt x="329907" y="2389807"/>
                  <a:pt x="320975" y="2398714"/>
                  <a:pt x="320975" y="2409659"/>
                </a:cubicBezTo>
                <a:cubicBezTo>
                  <a:pt x="320975" y="2420604"/>
                  <a:pt x="329907" y="2429512"/>
                  <a:pt x="340882" y="2429512"/>
                </a:cubicBezTo>
                <a:cubicBezTo>
                  <a:pt x="347074" y="2429512"/>
                  <a:pt x="352633" y="2426669"/>
                  <a:pt x="356292" y="2422215"/>
                </a:cubicBezTo>
                <a:lnTo>
                  <a:pt x="356292" y="2427285"/>
                </a:lnTo>
                <a:cubicBezTo>
                  <a:pt x="356292" y="2435750"/>
                  <a:pt x="349371" y="2442652"/>
                  <a:pt x="340882" y="2442652"/>
                </a:cubicBezTo>
                <a:cubicBezTo>
                  <a:pt x="334706" y="2442652"/>
                  <a:pt x="329147" y="2439004"/>
                  <a:pt x="326708" y="2433349"/>
                </a:cubicBezTo>
                <a:cubicBezTo>
                  <a:pt x="326217" y="2432212"/>
                  <a:pt x="324903" y="2431691"/>
                  <a:pt x="323746" y="2432181"/>
                </a:cubicBezTo>
                <a:cubicBezTo>
                  <a:pt x="322622" y="2432670"/>
                  <a:pt x="322084" y="2433981"/>
                  <a:pt x="322575" y="2435134"/>
                </a:cubicBezTo>
                <a:cubicBezTo>
                  <a:pt x="325726" y="2442431"/>
                  <a:pt x="332900" y="2447153"/>
                  <a:pt x="340882" y="2447153"/>
                </a:cubicBezTo>
                <a:cubicBezTo>
                  <a:pt x="351857" y="2447153"/>
                  <a:pt x="360789" y="2438245"/>
                  <a:pt x="360789" y="2427301"/>
                </a:cubicBezTo>
                <a:lnTo>
                  <a:pt x="360789" y="2409675"/>
                </a:lnTo>
                <a:cubicBezTo>
                  <a:pt x="360789" y="2398730"/>
                  <a:pt x="351857" y="2389823"/>
                  <a:pt x="340882" y="2389823"/>
                </a:cubicBezTo>
                <a:close/>
                <a:moveTo>
                  <a:pt x="309477" y="2389807"/>
                </a:moveTo>
                <a:cubicBezTo>
                  <a:pt x="308242" y="2389807"/>
                  <a:pt x="307244" y="2390802"/>
                  <a:pt x="307244" y="2392050"/>
                </a:cubicBezTo>
                <a:lnTo>
                  <a:pt x="307244" y="2427285"/>
                </a:lnTo>
                <a:cubicBezTo>
                  <a:pt x="307244" y="2428517"/>
                  <a:pt x="308242" y="2429527"/>
                  <a:pt x="309477" y="2429527"/>
                </a:cubicBezTo>
                <a:cubicBezTo>
                  <a:pt x="310728" y="2429527"/>
                  <a:pt x="311726" y="2428517"/>
                  <a:pt x="311726" y="2427285"/>
                </a:cubicBezTo>
                <a:lnTo>
                  <a:pt x="311726" y="2392050"/>
                </a:lnTo>
                <a:cubicBezTo>
                  <a:pt x="311726" y="2390802"/>
                  <a:pt x="310712" y="2389807"/>
                  <a:pt x="309477" y="2389807"/>
                </a:cubicBezTo>
                <a:close/>
                <a:moveTo>
                  <a:pt x="782403" y="2389791"/>
                </a:moveTo>
                <a:cubicBezTo>
                  <a:pt x="778127" y="2389791"/>
                  <a:pt x="774247" y="2391544"/>
                  <a:pt x="771444" y="2394355"/>
                </a:cubicBezTo>
                <a:lnTo>
                  <a:pt x="771444" y="2392081"/>
                </a:lnTo>
                <a:cubicBezTo>
                  <a:pt x="771444" y="2390833"/>
                  <a:pt x="770446" y="2389838"/>
                  <a:pt x="769195" y="2389838"/>
                </a:cubicBezTo>
                <a:lnTo>
                  <a:pt x="766946" y="2389838"/>
                </a:lnTo>
                <a:lnTo>
                  <a:pt x="766946" y="2392081"/>
                </a:lnTo>
                <a:lnTo>
                  <a:pt x="766946" y="2427285"/>
                </a:lnTo>
                <a:cubicBezTo>
                  <a:pt x="766946" y="2428516"/>
                  <a:pt x="767960" y="2429527"/>
                  <a:pt x="769195" y="2429527"/>
                </a:cubicBezTo>
                <a:cubicBezTo>
                  <a:pt x="770430" y="2429527"/>
                  <a:pt x="771444" y="2428516"/>
                  <a:pt x="771444" y="2427285"/>
                </a:cubicBezTo>
                <a:lnTo>
                  <a:pt x="771444" y="2405221"/>
                </a:lnTo>
                <a:cubicBezTo>
                  <a:pt x="771444" y="2399188"/>
                  <a:pt x="776353" y="2394292"/>
                  <a:pt x="782403" y="2394292"/>
                </a:cubicBezTo>
                <a:cubicBezTo>
                  <a:pt x="788453" y="2394292"/>
                  <a:pt x="793362" y="2399204"/>
                  <a:pt x="793362" y="2405221"/>
                </a:cubicBezTo>
                <a:lnTo>
                  <a:pt x="793362" y="2427285"/>
                </a:lnTo>
                <a:cubicBezTo>
                  <a:pt x="793362" y="2428516"/>
                  <a:pt x="794376" y="2429527"/>
                  <a:pt x="795611" y="2429527"/>
                </a:cubicBezTo>
                <a:cubicBezTo>
                  <a:pt x="796846" y="2429527"/>
                  <a:pt x="797860" y="2428516"/>
                  <a:pt x="797860" y="2427285"/>
                </a:cubicBezTo>
                <a:lnTo>
                  <a:pt x="797860" y="2405221"/>
                </a:lnTo>
                <a:cubicBezTo>
                  <a:pt x="797860" y="2399188"/>
                  <a:pt x="802785" y="2394292"/>
                  <a:pt x="808819" y="2394292"/>
                </a:cubicBezTo>
                <a:cubicBezTo>
                  <a:pt x="814853" y="2394292"/>
                  <a:pt x="819778" y="2399204"/>
                  <a:pt x="819778" y="2405221"/>
                </a:cubicBezTo>
                <a:lnTo>
                  <a:pt x="819778" y="2427285"/>
                </a:lnTo>
                <a:cubicBezTo>
                  <a:pt x="819778" y="2428516"/>
                  <a:pt x="820792" y="2429527"/>
                  <a:pt x="822027" y="2429527"/>
                </a:cubicBezTo>
                <a:cubicBezTo>
                  <a:pt x="823263" y="2429527"/>
                  <a:pt x="824276" y="2428516"/>
                  <a:pt x="824276" y="2427285"/>
                </a:cubicBezTo>
                <a:lnTo>
                  <a:pt x="824276" y="2405221"/>
                </a:lnTo>
                <a:cubicBezTo>
                  <a:pt x="824276" y="2400973"/>
                  <a:pt x="822542" y="2397115"/>
                  <a:pt x="819743" y="2394320"/>
                </a:cubicBezTo>
                <a:lnTo>
                  <a:pt x="808828" y="2389795"/>
                </a:lnTo>
                <a:lnTo>
                  <a:pt x="808835" y="2389791"/>
                </a:lnTo>
                <a:lnTo>
                  <a:pt x="808819" y="2389791"/>
                </a:lnTo>
                <a:lnTo>
                  <a:pt x="808828" y="2389795"/>
                </a:lnTo>
                <a:lnTo>
                  <a:pt x="795627" y="2397245"/>
                </a:lnTo>
                <a:cubicBezTo>
                  <a:pt x="792919" y="2392792"/>
                  <a:pt x="788009" y="2389791"/>
                  <a:pt x="782403" y="2389791"/>
                </a:cubicBezTo>
                <a:close/>
                <a:moveTo>
                  <a:pt x="653078" y="2389791"/>
                </a:moveTo>
                <a:cubicBezTo>
                  <a:pt x="648786" y="2389791"/>
                  <a:pt x="644922" y="2391544"/>
                  <a:pt x="642119" y="2394355"/>
                </a:cubicBezTo>
                <a:lnTo>
                  <a:pt x="642119" y="2392081"/>
                </a:lnTo>
                <a:cubicBezTo>
                  <a:pt x="642119" y="2390833"/>
                  <a:pt x="641105" y="2389838"/>
                  <a:pt x="639870" y="2389838"/>
                </a:cubicBezTo>
                <a:lnTo>
                  <a:pt x="637621" y="2389838"/>
                </a:lnTo>
                <a:lnTo>
                  <a:pt x="637621" y="2392081"/>
                </a:lnTo>
                <a:lnTo>
                  <a:pt x="637621" y="2427285"/>
                </a:lnTo>
                <a:cubicBezTo>
                  <a:pt x="637621" y="2428516"/>
                  <a:pt x="638635" y="2429527"/>
                  <a:pt x="639870" y="2429527"/>
                </a:cubicBezTo>
                <a:cubicBezTo>
                  <a:pt x="641105" y="2429527"/>
                  <a:pt x="642119" y="2428516"/>
                  <a:pt x="642119" y="2427285"/>
                </a:cubicBezTo>
                <a:lnTo>
                  <a:pt x="642119" y="2405221"/>
                </a:lnTo>
                <a:cubicBezTo>
                  <a:pt x="642119" y="2399188"/>
                  <a:pt x="647028" y="2394292"/>
                  <a:pt x="653078" y="2394292"/>
                </a:cubicBezTo>
                <a:cubicBezTo>
                  <a:pt x="659128" y="2394292"/>
                  <a:pt x="664037" y="2399204"/>
                  <a:pt x="664037" y="2405221"/>
                </a:cubicBezTo>
                <a:lnTo>
                  <a:pt x="664037" y="2427285"/>
                </a:lnTo>
                <a:cubicBezTo>
                  <a:pt x="664037" y="2428516"/>
                  <a:pt x="665051" y="2429527"/>
                  <a:pt x="666286" y="2429527"/>
                </a:cubicBezTo>
                <a:cubicBezTo>
                  <a:pt x="667521" y="2429527"/>
                  <a:pt x="668535" y="2428516"/>
                  <a:pt x="668535" y="2427285"/>
                </a:cubicBezTo>
                <a:lnTo>
                  <a:pt x="668535" y="2405221"/>
                </a:lnTo>
                <a:cubicBezTo>
                  <a:pt x="668535" y="2399188"/>
                  <a:pt x="673444" y="2394292"/>
                  <a:pt x="679494" y="2394292"/>
                </a:cubicBezTo>
                <a:cubicBezTo>
                  <a:pt x="685544" y="2394292"/>
                  <a:pt x="690453" y="2399204"/>
                  <a:pt x="690453" y="2405221"/>
                </a:cubicBezTo>
                <a:lnTo>
                  <a:pt x="690453" y="2427285"/>
                </a:lnTo>
                <a:cubicBezTo>
                  <a:pt x="690453" y="2428516"/>
                  <a:pt x="691467" y="2429527"/>
                  <a:pt x="692718" y="2429527"/>
                </a:cubicBezTo>
                <a:cubicBezTo>
                  <a:pt x="693969" y="2429527"/>
                  <a:pt x="694951" y="2428516"/>
                  <a:pt x="694951" y="2427285"/>
                </a:cubicBezTo>
                <a:lnTo>
                  <a:pt x="694951" y="2405221"/>
                </a:lnTo>
                <a:cubicBezTo>
                  <a:pt x="694951" y="2396724"/>
                  <a:pt x="688015" y="2389791"/>
                  <a:pt x="679494" y="2389791"/>
                </a:cubicBezTo>
                <a:cubicBezTo>
                  <a:pt x="673904" y="2389791"/>
                  <a:pt x="669010" y="2392792"/>
                  <a:pt x="666286" y="2397245"/>
                </a:cubicBezTo>
                <a:cubicBezTo>
                  <a:pt x="663578" y="2392792"/>
                  <a:pt x="658668" y="2389791"/>
                  <a:pt x="653078" y="2389791"/>
                </a:cubicBezTo>
                <a:close/>
                <a:moveTo>
                  <a:pt x="923812" y="2377772"/>
                </a:moveTo>
                <a:lnTo>
                  <a:pt x="923812" y="2380015"/>
                </a:lnTo>
                <a:cubicBezTo>
                  <a:pt x="923812" y="2381247"/>
                  <a:pt x="924826" y="2382257"/>
                  <a:pt x="926061" y="2382257"/>
                </a:cubicBezTo>
                <a:cubicBezTo>
                  <a:pt x="927296" y="2382257"/>
                  <a:pt x="928294" y="2381247"/>
                  <a:pt x="928294" y="2380015"/>
                </a:cubicBezTo>
                <a:cubicBezTo>
                  <a:pt x="928294" y="2378783"/>
                  <a:pt x="927296" y="2377772"/>
                  <a:pt x="926061" y="2377772"/>
                </a:cubicBezTo>
                <a:close/>
                <a:moveTo>
                  <a:pt x="537483" y="2377772"/>
                </a:moveTo>
                <a:lnTo>
                  <a:pt x="537483" y="2380015"/>
                </a:lnTo>
                <a:cubicBezTo>
                  <a:pt x="537483" y="2381247"/>
                  <a:pt x="538497" y="2382257"/>
                  <a:pt x="539732" y="2382257"/>
                </a:cubicBezTo>
                <a:cubicBezTo>
                  <a:pt x="540967" y="2382257"/>
                  <a:pt x="541981" y="2381247"/>
                  <a:pt x="541981" y="2380015"/>
                </a:cubicBezTo>
                <a:cubicBezTo>
                  <a:pt x="541981" y="2378783"/>
                  <a:pt x="540967" y="2377772"/>
                  <a:pt x="539732" y="2377772"/>
                </a:cubicBezTo>
                <a:close/>
                <a:moveTo>
                  <a:pt x="369737" y="2377772"/>
                </a:moveTo>
                <a:lnTo>
                  <a:pt x="369737" y="2380015"/>
                </a:lnTo>
                <a:cubicBezTo>
                  <a:pt x="369737" y="2381247"/>
                  <a:pt x="370751" y="2382257"/>
                  <a:pt x="371986" y="2382257"/>
                </a:cubicBezTo>
                <a:cubicBezTo>
                  <a:pt x="373221" y="2382257"/>
                  <a:pt x="374235" y="2381247"/>
                  <a:pt x="374235" y="2380015"/>
                </a:cubicBezTo>
                <a:cubicBezTo>
                  <a:pt x="374235" y="2378783"/>
                  <a:pt x="373237" y="2377772"/>
                  <a:pt x="371986" y="2377772"/>
                </a:cubicBezTo>
                <a:close/>
                <a:moveTo>
                  <a:pt x="307228" y="2377772"/>
                </a:moveTo>
                <a:lnTo>
                  <a:pt x="307228" y="2380015"/>
                </a:lnTo>
                <a:cubicBezTo>
                  <a:pt x="307228" y="2381247"/>
                  <a:pt x="308242" y="2382257"/>
                  <a:pt x="309477" y="2382257"/>
                </a:cubicBezTo>
                <a:cubicBezTo>
                  <a:pt x="310712" y="2382257"/>
                  <a:pt x="311710" y="2381247"/>
                  <a:pt x="311710" y="2380015"/>
                </a:cubicBezTo>
                <a:cubicBezTo>
                  <a:pt x="311710" y="2378783"/>
                  <a:pt x="310712" y="2377772"/>
                  <a:pt x="309477" y="2377772"/>
                </a:cubicBezTo>
                <a:close/>
                <a:moveTo>
                  <a:pt x="912710" y="2373018"/>
                </a:moveTo>
                <a:cubicBezTo>
                  <a:pt x="911475" y="2373018"/>
                  <a:pt x="910461" y="2374013"/>
                  <a:pt x="910461" y="2375261"/>
                </a:cubicBezTo>
                <a:lnTo>
                  <a:pt x="910461" y="2397119"/>
                </a:lnTo>
                <a:cubicBezTo>
                  <a:pt x="906803" y="2392665"/>
                  <a:pt x="901244" y="2389822"/>
                  <a:pt x="895036" y="2389822"/>
                </a:cubicBezTo>
                <a:cubicBezTo>
                  <a:pt x="884061" y="2389822"/>
                  <a:pt x="875129" y="2398730"/>
                  <a:pt x="875129" y="2409675"/>
                </a:cubicBezTo>
                <a:cubicBezTo>
                  <a:pt x="875129" y="2420619"/>
                  <a:pt x="884061" y="2429527"/>
                  <a:pt x="895036" y="2429527"/>
                </a:cubicBezTo>
                <a:lnTo>
                  <a:pt x="914959" y="2429527"/>
                </a:lnTo>
                <a:lnTo>
                  <a:pt x="914959" y="2375261"/>
                </a:lnTo>
                <a:cubicBezTo>
                  <a:pt x="914959" y="2374013"/>
                  <a:pt x="913946" y="2373018"/>
                  <a:pt x="912710" y="2373018"/>
                </a:cubicBezTo>
                <a:close/>
                <a:moveTo>
                  <a:pt x="457696" y="2373018"/>
                </a:moveTo>
                <a:cubicBezTo>
                  <a:pt x="456461" y="2373018"/>
                  <a:pt x="455447" y="2374013"/>
                  <a:pt x="455447" y="2375261"/>
                </a:cubicBezTo>
                <a:lnTo>
                  <a:pt x="455447" y="2423857"/>
                </a:lnTo>
                <a:cubicBezTo>
                  <a:pt x="455447" y="2426984"/>
                  <a:pt x="457997" y="2429527"/>
                  <a:pt x="461132" y="2429527"/>
                </a:cubicBezTo>
                <a:cubicBezTo>
                  <a:pt x="462384" y="2429527"/>
                  <a:pt x="463381" y="2428532"/>
                  <a:pt x="463381" y="2427284"/>
                </a:cubicBezTo>
                <a:cubicBezTo>
                  <a:pt x="463381" y="2426036"/>
                  <a:pt x="462384" y="2425042"/>
                  <a:pt x="461132" y="2425042"/>
                </a:cubicBezTo>
                <a:cubicBezTo>
                  <a:pt x="460483" y="2425042"/>
                  <a:pt x="459945" y="2424520"/>
                  <a:pt x="459945" y="2423857"/>
                </a:cubicBezTo>
                <a:lnTo>
                  <a:pt x="459945" y="2375261"/>
                </a:lnTo>
                <a:cubicBezTo>
                  <a:pt x="459945" y="2374013"/>
                  <a:pt x="458931" y="2373018"/>
                  <a:pt x="457696" y="2373018"/>
                </a:cubicBezTo>
                <a:close/>
                <a:moveTo>
                  <a:pt x="391624" y="2373003"/>
                </a:moveTo>
                <a:cubicBezTo>
                  <a:pt x="390389" y="2373003"/>
                  <a:pt x="389375" y="2373998"/>
                  <a:pt x="389375" y="2375246"/>
                </a:cubicBezTo>
                <a:lnTo>
                  <a:pt x="389375" y="2389807"/>
                </a:lnTo>
                <a:lnTo>
                  <a:pt x="385606" y="2389807"/>
                </a:lnTo>
                <a:cubicBezTo>
                  <a:pt x="384371" y="2389807"/>
                  <a:pt x="383357" y="2390802"/>
                  <a:pt x="383357" y="2392050"/>
                </a:cubicBezTo>
                <a:cubicBezTo>
                  <a:pt x="383357" y="2393298"/>
                  <a:pt x="384371" y="2394293"/>
                  <a:pt x="385606" y="2394293"/>
                </a:cubicBezTo>
                <a:lnTo>
                  <a:pt x="389375" y="2394293"/>
                </a:lnTo>
                <a:lnTo>
                  <a:pt x="389375" y="2417604"/>
                </a:lnTo>
                <a:cubicBezTo>
                  <a:pt x="389375" y="2424174"/>
                  <a:pt x="394728" y="2429512"/>
                  <a:pt x="401316" y="2429512"/>
                </a:cubicBezTo>
                <a:cubicBezTo>
                  <a:pt x="402219" y="2429512"/>
                  <a:pt x="403106" y="2429417"/>
                  <a:pt x="403977" y="2429212"/>
                </a:cubicBezTo>
                <a:lnTo>
                  <a:pt x="405664" y="2426539"/>
                </a:lnTo>
                <a:lnTo>
                  <a:pt x="405671" y="2426543"/>
                </a:lnTo>
                <a:lnTo>
                  <a:pt x="405671" y="2426527"/>
                </a:lnTo>
                <a:lnTo>
                  <a:pt x="405664" y="2426539"/>
                </a:lnTo>
                <a:lnTo>
                  <a:pt x="402979" y="2424853"/>
                </a:lnTo>
                <a:cubicBezTo>
                  <a:pt x="402441" y="2424979"/>
                  <a:pt x="401886" y="2425042"/>
                  <a:pt x="401316" y="2425042"/>
                </a:cubicBezTo>
                <a:cubicBezTo>
                  <a:pt x="397214" y="2425042"/>
                  <a:pt x="393873" y="2421710"/>
                  <a:pt x="393873" y="2417604"/>
                </a:cubicBezTo>
                <a:lnTo>
                  <a:pt x="393873" y="2394293"/>
                </a:lnTo>
                <a:lnTo>
                  <a:pt x="400208" y="2394293"/>
                </a:lnTo>
                <a:cubicBezTo>
                  <a:pt x="401459" y="2394293"/>
                  <a:pt x="402456" y="2393282"/>
                  <a:pt x="402456" y="2392050"/>
                </a:cubicBezTo>
                <a:cubicBezTo>
                  <a:pt x="402456" y="2390818"/>
                  <a:pt x="401459" y="2389807"/>
                  <a:pt x="400208" y="2389807"/>
                </a:cubicBezTo>
                <a:lnTo>
                  <a:pt x="393873" y="2389807"/>
                </a:lnTo>
                <a:lnTo>
                  <a:pt x="393873" y="2375246"/>
                </a:lnTo>
                <a:cubicBezTo>
                  <a:pt x="393873" y="2373998"/>
                  <a:pt x="392859" y="2373003"/>
                  <a:pt x="391624" y="2373003"/>
                </a:cubicBezTo>
                <a:close/>
                <a:moveTo>
                  <a:pt x="296174" y="2373003"/>
                </a:moveTo>
                <a:cubicBezTo>
                  <a:pt x="294939" y="2373003"/>
                  <a:pt x="293926" y="2373998"/>
                  <a:pt x="293926" y="2375246"/>
                </a:cubicBezTo>
                <a:lnTo>
                  <a:pt x="293926" y="2397104"/>
                </a:lnTo>
                <a:cubicBezTo>
                  <a:pt x="290283" y="2392650"/>
                  <a:pt x="284724" y="2389807"/>
                  <a:pt x="278516" y="2389807"/>
                </a:cubicBezTo>
                <a:cubicBezTo>
                  <a:pt x="267541" y="2389807"/>
                  <a:pt x="258609" y="2398699"/>
                  <a:pt x="258609" y="2409660"/>
                </a:cubicBezTo>
                <a:cubicBezTo>
                  <a:pt x="258609" y="2420620"/>
                  <a:pt x="267541" y="2429528"/>
                  <a:pt x="278516" y="2429528"/>
                </a:cubicBezTo>
                <a:lnTo>
                  <a:pt x="298423" y="2429528"/>
                </a:lnTo>
                <a:lnTo>
                  <a:pt x="298423" y="2429512"/>
                </a:lnTo>
                <a:lnTo>
                  <a:pt x="298423" y="2375246"/>
                </a:lnTo>
                <a:cubicBezTo>
                  <a:pt x="298423" y="2373998"/>
                  <a:pt x="297410" y="2373003"/>
                  <a:pt x="296174" y="2373003"/>
                </a:cubicBezTo>
                <a:close/>
                <a:moveTo>
                  <a:pt x="533786" y="2268131"/>
                </a:moveTo>
                <a:lnTo>
                  <a:pt x="533794" y="2268151"/>
                </a:lnTo>
                <a:lnTo>
                  <a:pt x="533786" y="2268171"/>
                </a:lnTo>
                <a:lnTo>
                  <a:pt x="533778" y="2268151"/>
                </a:lnTo>
                <a:close/>
                <a:moveTo>
                  <a:pt x="258609" y="2198249"/>
                </a:moveTo>
                <a:lnTo>
                  <a:pt x="258609" y="2268151"/>
                </a:lnTo>
                <a:cubicBezTo>
                  <a:pt x="258609" y="2306766"/>
                  <a:pt x="289412" y="2338068"/>
                  <a:pt x="327405" y="2338068"/>
                </a:cubicBezTo>
                <a:cubicBezTo>
                  <a:pt x="365398" y="2338068"/>
                  <a:pt x="396201" y="2306781"/>
                  <a:pt x="396201" y="2268151"/>
                </a:cubicBezTo>
                <a:cubicBezTo>
                  <a:pt x="396201" y="2306766"/>
                  <a:pt x="427004" y="2338068"/>
                  <a:pt x="464997" y="2338068"/>
                </a:cubicBezTo>
                <a:cubicBezTo>
                  <a:pt x="483994" y="2338068"/>
                  <a:pt x="501193" y="2330246"/>
                  <a:pt x="513643" y="2317596"/>
                </a:cubicBezTo>
                <a:lnTo>
                  <a:pt x="533786" y="2268171"/>
                </a:lnTo>
                <a:lnTo>
                  <a:pt x="553923" y="2317590"/>
                </a:lnTo>
                <a:cubicBezTo>
                  <a:pt x="566371" y="2330243"/>
                  <a:pt x="583570" y="2338068"/>
                  <a:pt x="602574" y="2338068"/>
                </a:cubicBezTo>
                <a:cubicBezTo>
                  <a:pt x="615117" y="2338068"/>
                  <a:pt x="626868" y="2334657"/>
                  <a:pt x="636972" y="2328703"/>
                </a:cubicBezTo>
                <a:cubicBezTo>
                  <a:pt x="647108" y="2334657"/>
                  <a:pt x="658843" y="2338068"/>
                  <a:pt x="671370" y="2338068"/>
                </a:cubicBezTo>
                <a:cubicBezTo>
                  <a:pt x="709363" y="2338068"/>
                  <a:pt x="740166" y="2306781"/>
                  <a:pt x="740166" y="2268151"/>
                </a:cubicBezTo>
                <a:cubicBezTo>
                  <a:pt x="740166" y="2229520"/>
                  <a:pt x="709379" y="2198249"/>
                  <a:pt x="671386" y="2198249"/>
                </a:cubicBezTo>
                <a:cubicBezTo>
                  <a:pt x="658859" y="2198249"/>
                  <a:pt x="647123" y="2201645"/>
                  <a:pt x="636988" y="2207599"/>
                </a:cubicBezTo>
                <a:lnTo>
                  <a:pt x="636972" y="2207599"/>
                </a:lnTo>
                <a:cubicBezTo>
                  <a:pt x="626868" y="2201660"/>
                  <a:pt x="615117" y="2198249"/>
                  <a:pt x="602574" y="2198249"/>
                </a:cubicBezTo>
                <a:cubicBezTo>
                  <a:pt x="583570" y="2198249"/>
                  <a:pt x="566371" y="2206071"/>
                  <a:pt x="553923" y="2218719"/>
                </a:cubicBezTo>
                <a:lnTo>
                  <a:pt x="533786" y="2268131"/>
                </a:lnTo>
                <a:lnTo>
                  <a:pt x="513637" y="2218713"/>
                </a:lnTo>
                <a:cubicBezTo>
                  <a:pt x="501185" y="2206067"/>
                  <a:pt x="483986" y="2198249"/>
                  <a:pt x="464997" y="2198249"/>
                </a:cubicBezTo>
                <a:cubicBezTo>
                  <a:pt x="427020" y="2198249"/>
                  <a:pt x="396201" y="2229536"/>
                  <a:pt x="396201" y="2268151"/>
                </a:cubicBezTo>
                <a:cubicBezTo>
                  <a:pt x="396201" y="2229520"/>
                  <a:pt x="365398" y="2198249"/>
                  <a:pt x="327405" y="2198249"/>
                </a:cubicBezTo>
                <a:close/>
                <a:moveTo>
                  <a:pt x="0" y="0"/>
                </a:moveTo>
                <a:lnTo>
                  <a:pt x="4335550" y="0"/>
                </a:lnTo>
                <a:lnTo>
                  <a:pt x="4335550" y="2579546"/>
                </a:lnTo>
                <a:lnTo>
                  <a:pt x="0" y="25795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0184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8_Film_Stills_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9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9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90965" y="-779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21EDEACA-DE4A-F4CF-B01A-810FC93746F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378691" y="2572610"/>
            <a:ext cx="4356000" cy="2579546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D518308-8488-B6C7-F81F-128AFE96A9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9" y="3410442"/>
            <a:ext cx="2405174" cy="1741714"/>
          </a:xfrm>
          <a:custGeom>
            <a:avLst/>
            <a:gdLst>
              <a:gd name="connsiteX0" fmla="*/ 950736 w 2405174"/>
              <a:gd name="connsiteY0" fmla="*/ 1570768 h 1741714"/>
              <a:gd name="connsiteX1" fmla="*/ 966161 w 2405174"/>
              <a:gd name="connsiteY1" fmla="*/ 1586135 h 1741714"/>
              <a:gd name="connsiteX2" fmla="*/ 966161 w 2405174"/>
              <a:gd name="connsiteY2" fmla="*/ 1601517 h 1741714"/>
              <a:gd name="connsiteX3" fmla="*/ 950736 w 2405174"/>
              <a:gd name="connsiteY3" fmla="*/ 1601517 h 1741714"/>
              <a:gd name="connsiteX4" fmla="*/ 935327 w 2405174"/>
              <a:gd name="connsiteY4" fmla="*/ 1586135 h 1741714"/>
              <a:gd name="connsiteX5" fmla="*/ 950736 w 2405174"/>
              <a:gd name="connsiteY5" fmla="*/ 1570768 h 1741714"/>
              <a:gd name="connsiteX6" fmla="*/ 842838 w 2405174"/>
              <a:gd name="connsiteY6" fmla="*/ 1570768 h 1741714"/>
              <a:gd name="connsiteX7" fmla="*/ 858089 w 2405174"/>
              <a:gd name="connsiteY7" fmla="*/ 1583892 h 1741714"/>
              <a:gd name="connsiteX8" fmla="*/ 827587 w 2405174"/>
              <a:gd name="connsiteY8" fmla="*/ 1583892 h 1741714"/>
              <a:gd name="connsiteX9" fmla="*/ 842838 w 2405174"/>
              <a:gd name="connsiteY9" fmla="*/ 1570768 h 1741714"/>
              <a:gd name="connsiteX10" fmla="*/ 714257 w 2405174"/>
              <a:gd name="connsiteY10" fmla="*/ 1570768 h 1741714"/>
              <a:gd name="connsiteX11" fmla="*/ 729683 w 2405174"/>
              <a:gd name="connsiteY11" fmla="*/ 1586135 h 1741714"/>
              <a:gd name="connsiteX12" fmla="*/ 729683 w 2405174"/>
              <a:gd name="connsiteY12" fmla="*/ 1601517 h 1741714"/>
              <a:gd name="connsiteX13" fmla="*/ 714257 w 2405174"/>
              <a:gd name="connsiteY13" fmla="*/ 1601517 h 1741714"/>
              <a:gd name="connsiteX14" fmla="*/ 698848 w 2405174"/>
              <a:gd name="connsiteY14" fmla="*/ 1586135 h 1741714"/>
              <a:gd name="connsiteX15" fmla="*/ 714257 w 2405174"/>
              <a:gd name="connsiteY15" fmla="*/ 1570768 h 1741714"/>
              <a:gd name="connsiteX16" fmla="*/ 606407 w 2405174"/>
              <a:gd name="connsiteY16" fmla="*/ 1570768 h 1741714"/>
              <a:gd name="connsiteX17" fmla="*/ 621658 w 2405174"/>
              <a:gd name="connsiteY17" fmla="*/ 1583892 h 1741714"/>
              <a:gd name="connsiteX18" fmla="*/ 591156 w 2405174"/>
              <a:gd name="connsiteY18" fmla="*/ 1583892 h 1741714"/>
              <a:gd name="connsiteX19" fmla="*/ 606407 w 2405174"/>
              <a:gd name="connsiteY19" fmla="*/ 1570768 h 1741714"/>
              <a:gd name="connsiteX20" fmla="*/ 423393 w 2405174"/>
              <a:gd name="connsiteY20" fmla="*/ 1570768 h 1741714"/>
              <a:gd name="connsiteX21" fmla="*/ 438803 w 2405174"/>
              <a:gd name="connsiteY21" fmla="*/ 1586135 h 1741714"/>
              <a:gd name="connsiteX22" fmla="*/ 438803 w 2405174"/>
              <a:gd name="connsiteY22" fmla="*/ 1601517 h 1741714"/>
              <a:gd name="connsiteX23" fmla="*/ 423393 w 2405174"/>
              <a:gd name="connsiteY23" fmla="*/ 1601517 h 1741714"/>
              <a:gd name="connsiteX24" fmla="*/ 407984 w 2405174"/>
              <a:gd name="connsiteY24" fmla="*/ 1586135 h 1741714"/>
              <a:gd name="connsiteX25" fmla="*/ 423393 w 2405174"/>
              <a:gd name="connsiteY25" fmla="*/ 1570768 h 1741714"/>
              <a:gd name="connsiteX26" fmla="*/ 272277 w 2405174"/>
              <a:gd name="connsiteY26" fmla="*/ 1570768 h 1741714"/>
              <a:gd name="connsiteX27" fmla="*/ 287687 w 2405174"/>
              <a:gd name="connsiteY27" fmla="*/ 1586135 h 1741714"/>
              <a:gd name="connsiteX28" fmla="*/ 287687 w 2405174"/>
              <a:gd name="connsiteY28" fmla="*/ 1601517 h 1741714"/>
              <a:gd name="connsiteX29" fmla="*/ 272277 w 2405174"/>
              <a:gd name="connsiteY29" fmla="*/ 1601517 h 1741714"/>
              <a:gd name="connsiteX30" fmla="*/ 256868 w 2405174"/>
              <a:gd name="connsiteY30" fmla="*/ 1586135 h 1741714"/>
              <a:gd name="connsiteX31" fmla="*/ 272277 w 2405174"/>
              <a:gd name="connsiteY31" fmla="*/ 1570768 h 1741714"/>
              <a:gd name="connsiteX32" fmla="*/ 888813 w 2405174"/>
              <a:gd name="connsiteY32" fmla="*/ 1570767 h 1741714"/>
              <a:gd name="connsiteX33" fmla="*/ 904238 w 2405174"/>
              <a:gd name="connsiteY33" fmla="*/ 1586134 h 1741714"/>
              <a:gd name="connsiteX34" fmla="*/ 904238 w 2405174"/>
              <a:gd name="connsiteY34" fmla="*/ 1601517 h 1741714"/>
              <a:gd name="connsiteX35" fmla="*/ 888813 w 2405174"/>
              <a:gd name="connsiteY35" fmla="*/ 1601517 h 1741714"/>
              <a:gd name="connsiteX36" fmla="*/ 873404 w 2405174"/>
              <a:gd name="connsiteY36" fmla="*/ 1586134 h 1741714"/>
              <a:gd name="connsiteX37" fmla="*/ 888813 w 2405174"/>
              <a:gd name="connsiteY37" fmla="*/ 1570767 h 1741714"/>
              <a:gd name="connsiteX38" fmla="*/ 334643 w 2405174"/>
              <a:gd name="connsiteY38" fmla="*/ 1570767 h 1741714"/>
              <a:gd name="connsiteX39" fmla="*/ 350053 w 2405174"/>
              <a:gd name="connsiteY39" fmla="*/ 1586134 h 1741714"/>
              <a:gd name="connsiteX40" fmla="*/ 334643 w 2405174"/>
              <a:gd name="connsiteY40" fmla="*/ 1601517 h 1741714"/>
              <a:gd name="connsiteX41" fmla="*/ 319234 w 2405174"/>
              <a:gd name="connsiteY41" fmla="*/ 1586134 h 1741714"/>
              <a:gd name="connsiteX42" fmla="*/ 334643 w 2405174"/>
              <a:gd name="connsiteY42" fmla="*/ 1570767 h 1741714"/>
              <a:gd name="connsiteX43" fmla="*/ 543866 w 2405174"/>
              <a:gd name="connsiteY43" fmla="*/ 1566313 h 1741714"/>
              <a:gd name="connsiteX44" fmla="*/ 543866 w 2405174"/>
              <a:gd name="connsiteY44" fmla="*/ 1603759 h 1741714"/>
              <a:gd name="connsiteX45" fmla="*/ 546115 w 2405174"/>
              <a:gd name="connsiteY45" fmla="*/ 1606002 h 1741714"/>
              <a:gd name="connsiteX46" fmla="*/ 548364 w 2405174"/>
              <a:gd name="connsiteY46" fmla="*/ 1603759 h 1741714"/>
              <a:gd name="connsiteX47" fmla="*/ 548364 w 2405174"/>
              <a:gd name="connsiteY47" fmla="*/ 1589593 h 1741714"/>
              <a:gd name="connsiteX48" fmla="*/ 548364 w 2405174"/>
              <a:gd name="connsiteY48" fmla="*/ 1584507 h 1741714"/>
              <a:gd name="connsiteX49" fmla="*/ 562126 w 2405174"/>
              <a:gd name="connsiteY49" fmla="*/ 1570798 h 1741714"/>
              <a:gd name="connsiteX50" fmla="*/ 575889 w 2405174"/>
              <a:gd name="connsiteY50" fmla="*/ 1584523 h 1741714"/>
              <a:gd name="connsiteX51" fmla="*/ 575889 w 2405174"/>
              <a:gd name="connsiteY51" fmla="*/ 1603759 h 1741714"/>
              <a:gd name="connsiteX52" fmla="*/ 578137 w 2405174"/>
              <a:gd name="connsiteY52" fmla="*/ 1606002 h 1741714"/>
              <a:gd name="connsiteX53" fmla="*/ 580386 w 2405174"/>
              <a:gd name="connsiteY53" fmla="*/ 1603759 h 1741714"/>
              <a:gd name="connsiteX54" fmla="*/ 580386 w 2405174"/>
              <a:gd name="connsiteY54" fmla="*/ 1584523 h 1741714"/>
              <a:gd name="connsiteX55" fmla="*/ 562142 w 2405174"/>
              <a:gd name="connsiteY55" fmla="*/ 1566313 h 1741714"/>
              <a:gd name="connsiteX56" fmla="*/ 562126 w 2405174"/>
              <a:gd name="connsiteY56" fmla="*/ 1566313 h 1741714"/>
              <a:gd name="connsiteX57" fmla="*/ 548364 w 2405174"/>
              <a:gd name="connsiteY57" fmla="*/ 1572567 h 1741714"/>
              <a:gd name="connsiteX58" fmla="*/ 548364 w 2405174"/>
              <a:gd name="connsiteY58" fmla="*/ 1568556 h 1741714"/>
              <a:gd name="connsiteX59" fmla="*/ 546115 w 2405174"/>
              <a:gd name="connsiteY59" fmla="*/ 1566313 h 1741714"/>
              <a:gd name="connsiteX60" fmla="*/ 950736 w 2405174"/>
              <a:gd name="connsiteY60" fmla="*/ 1566298 h 1741714"/>
              <a:gd name="connsiteX61" fmla="*/ 930829 w 2405174"/>
              <a:gd name="connsiteY61" fmla="*/ 1586150 h 1741714"/>
              <a:gd name="connsiteX62" fmla="*/ 950736 w 2405174"/>
              <a:gd name="connsiteY62" fmla="*/ 1606003 h 1741714"/>
              <a:gd name="connsiteX63" fmla="*/ 970643 w 2405174"/>
              <a:gd name="connsiteY63" fmla="*/ 1606003 h 1741714"/>
              <a:gd name="connsiteX64" fmla="*/ 970643 w 2405174"/>
              <a:gd name="connsiteY64" fmla="*/ 1586150 h 1741714"/>
              <a:gd name="connsiteX65" fmla="*/ 950736 w 2405174"/>
              <a:gd name="connsiteY65" fmla="*/ 1566298 h 1741714"/>
              <a:gd name="connsiteX66" fmla="*/ 842838 w 2405174"/>
              <a:gd name="connsiteY66" fmla="*/ 1566298 h 1741714"/>
              <a:gd name="connsiteX67" fmla="*/ 822931 w 2405174"/>
              <a:gd name="connsiteY67" fmla="*/ 1586150 h 1741714"/>
              <a:gd name="connsiteX68" fmla="*/ 842838 w 2405174"/>
              <a:gd name="connsiteY68" fmla="*/ 1606003 h 1741714"/>
              <a:gd name="connsiteX69" fmla="*/ 855033 w 2405174"/>
              <a:gd name="connsiteY69" fmla="*/ 1601849 h 1741714"/>
              <a:gd name="connsiteX70" fmla="*/ 855429 w 2405174"/>
              <a:gd name="connsiteY70" fmla="*/ 1598706 h 1741714"/>
              <a:gd name="connsiteX71" fmla="*/ 852277 w 2405174"/>
              <a:gd name="connsiteY71" fmla="*/ 1598311 h 1741714"/>
              <a:gd name="connsiteX72" fmla="*/ 842838 w 2405174"/>
              <a:gd name="connsiteY72" fmla="*/ 1601533 h 1741714"/>
              <a:gd name="connsiteX73" fmla="*/ 827587 w 2405174"/>
              <a:gd name="connsiteY73" fmla="*/ 1588393 h 1741714"/>
              <a:gd name="connsiteX74" fmla="*/ 860496 w 2405174"/>
              <a:gd name="connsiteY74" fmla="*/ 1588393 h 1741714"/>
              <a:gd name="connsiteX75" fmla="*/ 862745 w 2405174"/>
              <a:gd name="connsiteY75" fmla="*/ 1586150 h 1741714"/>
              <a:gd name="connsiteX76" fmla="*/ 842838 w 2405174"/>
              <a:gd name="connsiteY76" fmla="*/ 1566298 h 1741714"/>
              <a:gd name="connsiteX77" fmla="*/ 714257 w 2405174"/>
              <a:gd name="connsiteY77" fmla="*/ 1566298 h 1741714"/>
              <a:gd name="connsiteX78" fmla="*/ 694350 w 2405174"/>
              <a:gd name="connsiteY78" fmla="*/ 1586150 h 1741714"/>
              <a:gd name="connsiteX79" fmla="*/ 714257 w 2405174"/>
              <a:gd name="connsiteY79" fmla="*/ 1606003 h 1741714"/>
              <a:gd name="connsiteX80" fmla="*/ 734180 w 2405174"/>
              <a:gd name="connsiteY80" fmla="*/ 1606003 h 1741714"/>
              <a:gd name="connsiteX81" fmla="*/ 734180 w 2405174"/>
              <a:gd name="connsiteY81" fmla="*/ 1586150 h 1741714"/>
              <a:gd name="connsiteX82" fmla="*/ 714257 w 2405174"/>
              <a:gd name="connsiteY82" fmla="*/ 1566298 h 1741714"/>
              <a:gd name="connsiteX83" fmla="*/ 606407 w 2405174"/>
              <a:gd name="connsiteY83" fmla="*/ 1566298 h 1741714"/>
              <a:gd name="connsiteX84" fmla="*/ 586500 w 2405174"/>
              <a:gd name="connsiteY84" fmla="*/ 1586150 h 1741714"/>
              <a:gd name="connsiteX85" fmla="*/ 606407 w 2405174"/>
              <a:gd name="connsiteY85" fmla="*/ 1606003 h 1741714"/>
              <a:gd name="connsiteX86" fmla="*/ 618602 w 2405174"/>
              <a:gd name="connsiteY86" fmla="*/ 1601849 h 1741714"/>
              <a:gd name="connsiteX87" fmla="*/ 618998 w 2405174"/>
              <a:gd name="connsiteY87" fmla="*/ 1598706 h 1741714"/>
              <a:gd name="connsiteX88" fmla="*/ 615846 w 2405174"/>
              <a:gd name="connsiteY88" fmla="*/ 1598311 h 1741714"/>
              <a:gd name="connsiteX89" fmla="*/ 606407 w 2405174"/>
              <a:gd name="connsiteY89" fmla="*/ 1601533 h 1741714"/>
              <a:gd name="connsiteX90" fmla="*/ 591156 w 2405174"/>
              <a:gd name="connsiteY90" fmla="*/ 1588393 h 1741714"/>
              <a:gd name="connsiteX91" fmla="*/ 624065 w 2405174"/>
              <a:gd name="connsiteY91" fmla="*/ 1588393 h 1741714"/>
              <a:gd name="connsiteX92" fmla="*/ 626314 w 2405174"/>
              <a:gd name="connsiteY92" fmla="*/ 1586150 h 1741714"/>
              <a:gd name="connsiteX93" fmla="*/ 606407 w 2405174"/>
              <a:gd name="connsiteY93" fmla="*/ 1566298 h 1741714"/>
              <a:gd name="connsiteX94" fmla="*/ 507092 w 2405174"/>
              <a:gd name="connsiteY94" fmla="*/ 1566298 h 1741714"/>
              <a:gd name="connsiteX95" fmla="*/ 487185 w 2405174"/>
              <a:gd name="connsiteY95" fmla="*/ 1586150 h 1741714"/>
              <a:gd name="connsiteX96" fmla="*/ 507092 w 2405174"/>
              <a:gd name="connsiteY96" fmla="*/ 1606003 h 1741714"/>
              <a:gd name="connsiteX97" fmla="*/ 519762 w 2405174"/>
              <a:gd name="connsiteY97" fmla="*/ 1601454 h 1741714"/>
              <a:gd name="connsiteX98" fmla="*/ 520063 w 2405174"/>
              <a:gd name="connsiteY98" fmla="*/ 1598295 h 1741714"/>
              <a:gd name="connsiteX99" fmla="*/ 516895 w 2405174"/>
              <a:gd name="connsiteY99" fmla="*/ 1597995 h 1741714"/>
              <a:gd name="connsiteX100" fmla="*/ 507092 w 2405174"/>
              <a:gd name="connsiteY100" fmla="*/ 1601517 h 1741714"/>
              <a:gd name="connsiteX101" fmla="*/ 491667 w 2405174"/>
              <a:gd name="connsiteY101" fmla="*/ 1586135 h 1741714"/>
              <a:gd name="connsiteX102" fmla="*/ 507092 w 2405174"/>
              <a:gd name="connsiteY102" fmla="*/ 1570768 h 1741714"/>
              <a:gd name="connsiteX103" fmla="*/ 516895 w 2405174"/>
              <a:gd name="connsiteY103" fmla="*/ 1574289 h 1741714"/>
              <a:gd name="connsiteX104" fmla="*/ 520063 w 2405174"/>
              <a:gd name="connsiteY104" fmla="*/ 1573989 h 1741714"/>
              <a:gd name="connsiteX105" fmla="*/ 519762 w 2405174"/>
              <a:gd name="connsiteY105" fmla="*/ 1570831 h 1741714"/>
              <a:gd name="connsiteX106" fmla="*/ 507092 w 2405174"/>
              <a:gd name="connsiteY106" fmla="*/ 1566298 h 1741714"/>
              <a:gd name="connsiteX107" fmla="*/ 423409 w 2405174"/>
              <a:gd name="connsiteY107" fmla="*/ 1566298 h 1741714"/>
              <a:gd name="connsiteX108" fmla="*/ 403502 w 2405174"/>
              <a:gd name="connsiteY108" fmla="*/ 1586150 h 1741714"/>
              <a:gd name="connsiteX109" fmla="*/ 423409 w 2405174"/>
              <a:gd name="connsiteY109" fmla="*/ 1606003 h 1741714"/>
              <a:gd name="connsiteX110" fmla="*/ 443316 w 2405174"/>
              <a:gd name="connsiteY110" fmla="*/ 1606003 h 1741714"/>
              <a:gd name="connsiteX111" fmla="*/ 443316 w 2405174"/>
              <a:gd name="connsiteY111" fmla="*/ 1586150 h 1741714"/>
              <a:gd name="connsiteX112" fmla="*/ 423409 w 2405174"/>
              <a:gd name="connsiteY112" fmla="*/ 1566298 h 1741714"/>
              <a:gd name="connsiteX113" fmla="*/ 919822 w 2405174"/>
              <a:gd name="connsiteY113" fmla="*/ 1566282 h 1741714"/>
              <a:gd name="connsiteX114" fmla="*/ 917573 w 2405174"/>
              <a:gd name="connsiteY114" fmla="*/ 1568525 h 1741714"/>
              <a:gd name="connsiteX115" fmla="*/ 917573 w 2405174"/>
              <a:gd name="connsiteY115" fmla="*/ 1603760 h 1741714"/>
              <a:gd name="connsiteX116" fmla="*/ 919822 w 2405174"/>
              <a:gd name="connsiteY116" fmla="*/ 1606002 h 1741714"/>
              <a:gd name="connsiteX117" fmla="*/ 922055 w 2405174"/>
              <a:gd name="connsiteY117" fmla="*/ 1603760 h 1741714"/>
              <a:gd name="connsiteX118" fmla="*/ 922055 w 2405174"/>
              <a:gd name="connsiteY118" fmla="*/ 1568525 h 1741714"/>
              <a:gd name="connsiteX119" fmla="*/ 919822 w 2405174"/>
              <a:gd name="connsiteY119" fmla="*/ 1566282 h 1741714"/>
              <a:gd name="connsiteX120" fmla="*/ 533493 w 2405174"/>
              <a:gd name="connsiteY120" fmla="*/ 1566282 h 1741714"/>
              <a:gd name="connsiteX121" fmla="*/ 531244 w 2405174"/>
              <a:gd name="connsiteY121" fmla="*/ 1568525 h 1741714"/>
              <a:gd name="connsiteX122" fmla="*/ 531244 w 2405174"/>
              <a:gd name="connsiteY122" fmla="*/ 1603760 h 1741714"/>
              <a:gd name="connsiteX123" fmla="*/ 533493 w 2405174"/>
              <a:gd name="connsiteY123" fmla="*/ 1606002 h 1741714"/>
              <a:gd name="connsiteX124" fmla="*/ 535742 w 2405174"/>
              <a:gd name="connsiteY124" fmla="*/ 1603760 h 1741714"/>
              <a:gd name="connsiteX125" fmla="*/ 535742 w 2405174"/>
              <a:gd name="connsiteY125" fmla="*/ 1568525 h 1741714"/>
              <a:gd name="connsiteX126" fmla="*/ 533493 w 2405174"/>
              <a:gd name="connsiteY126" fmla="*/ 1566282 h 1741714"/>
              <a:gd name="connsiteX127" fmla="*/ 365747 w 2405174"/>
              <a:gd name="connsiteY127" fmla="*/ 1566282 h 1741714"/>
              <a:gd name="connsiteX128" fmla="*/ 363498 w 2405174"/>
              <a:gd name="connsiteY128" fmla="*/ 1568525 h 1741714"/>
              <a:gd name="connsiteX129" fmla="*/ 363498 w 2405174"/>
              <a:gd name="connsiteY129" fmla="*/ 1603760 h 1741714"/>
              <a:gd name="connsiteX130" fmla="*/ 365747 w 2405174"/>
              <a:gd name="connsiteY130" fmla="*/ 1606002 h 1741714"/>
              <a:gd name="connsiteX131" fmla="*/ 367996 w 2405174"/>
              <a:gd name="connsiteY131" fmla="*/ 1603760 h 1741714"/>
              <a:gd name="connsiteX132" fmla="*/ 367996 w 2405174"/>
              <a:gd name="connsiteY132" fmla="*/ 1568525 h 1741714"/>
              <a:gd name="connsiteX133" fmla="*/ 365747 w 2405174"/>
              <a:gd name="connsiteY133" fmla="*/ 1566282 h 1741714"/>
              <a:gd name="connsiteX134" fmla="*/ 334643 w 2405174"/>
              <a:gd name="connsiteY134" fmla="*/ 1566282 h 1741714"/>
              <a:gd name="connsiteX135" fmla="*/ 314736 w 2405174"/>
              <a:gd name="connsiteY135" fmla="*/ 1586134 h 1741714"/>
              <a:gd name="connsiteX136" fmla="*/ 334643 w 2405174"/>
              <a:gd name="connsiteY136" fmla="*/ 1605987 h 1741714"/>
              <a:gd name="connsiteX137" fmla="*/ 350053 w 2405174"/>
              <a:gd name="connsiteY137" fmla="*/ 1598690 h 1741714"/>
              <a:gd name="connsiteX138" fmla="*/ 350053 w 2405174"/>
              <a:gd name="connsiteY138" fmla="*/ 1603760 h 1741714"/>
              <a:gd name="connsiteX139" fmla="*/ 334643 w 2405174"/>
              <a:gd name="connsiteY139" fmla="*/ 1619127 h 1741714"/>
              <a:gd name="connsiteX140" fmla="*/ 320469 w 2405174"/>
              <a:gd name="connsiteY140" fmla="*/ 1609824 h 1741714"/>
              <a:gd name="connsiteX141" fmla="*/ 317507 w 2405174"/>
              <a:gd name="connsiteY141" fmla="*/ 1608656 h 1741714"/>
              <a:gd name="connsiteX142" fmla="*/ 316336 w 2405174"/>
              <a:gd name="connsiteY142" fmla="*/ 1611609 h 1741714"/>
              <a:gd name="connsiteX143" fmla="*/ 334643 w 2405174"/>
              <a:gd name="connsiteY143" fmla="*/ 1623628 h 1741714"/>
              <a:gd name="connsiteX144" fmla="*/ 354550 w 2405174"/>
              <a:gd name="connsiteY144" fmla="*/ 1603776 h 1741714"/>
              <a:gd name="connsiteX145" fmla="*/ 354550 w 2405174"/>
              <a:gd name="connsiteY145" fmla="*/ 1586150 h 1741714"/>
              <a:gd name="connsiteX146" fmla="*/ 334643 w 2405174"/>
              <a:gd name="connsiteY146" fmla="*/ 1566298 h 1741714"/>
              <a:gd name="connsiteX147" fmla="*/ 303238 w 2405174"/>
              <a:gd name="connsiteY147" fmla="*/ 1566282 h 1741714"/>
              <a:gd name="connsiteX148" fmla="*/ 301005 w 2405174"/>
              <a:gd name="connsiteY148" fmla="*/ 1568525 h 1741714"/>
              <a:gd name="connsiteX149" fmla="*/ 301005 w 2405174"/>
              <a:gd name="connsiteY149" fmla="*/ 1603760 h 1741714"/>
              <a:gd name="connsiteX150" fmla="*/ 303238 w 2405174"/>
              <a:gd name="connsiteY150" fmla="*/ 1606002 h 1741714"/>
              <a:gd name="connsiteX151" fmla="*/ 305487 w 2405174"/>
              <a:gd name="connsiteY151" fmla="*/ 1603760 h 1741714"/>
              <a:gd name="connsiteX152" fmla="*/ 305487 w 2405174"/>
              <a:gd name="connsiteY152" fmla="*/ 1568525 h 1741714"/>
              <a:gd name="connsiteX153" fmla="*/ 303238 w 2405174"/>
              <a:gd name="connsiteY153" fmla="*/ 1566282 h 1741714"/>
              <a:gd name="connsiteX154" fmla="*/ 776164 w 2405174"/>
              <a:gd name="connsiteY154" fmla="*/ 1566266 h 1741714"/>
              <a:gd name="connsiteX155" fmla="*/ 765205 w 2405174"/>
              <a:gd name="connsiteY155" fmla="*/ 1570830 h 1741714"/>
              <a:gd name="connsiteX156" fmla="*/ 765205 w 2405174"/>
              <a:gd name="connsiteY156" fmla="*/ 1568556 h 1741714"/>
              <a:gd name="connsiteX157" fmla="*/ 762956 w 2405174"/>
              <a:gd name="connsiteY157" fmla="*/ 1566313 h 1741714"/>
              <a:gd name="connsiteX158" fmla="*/ 760707 w 2405174"/>
              <a:gd name="connsiteY158" fmla="*/ 1566313 h 1741714"/>
              <a:gd name="connsiteX159" fmla="*/ 760707 w 2405174"/>
              <a:gd name="connsiteY159" fmla="*/ 1568556 h 1741714"/>
              <a:gd name="connsiteX160" fmla="*/ 760707 w 2405174"/>
              <a:gd name="connsiteY160" fmla="*/ 1603760 h 1741714"/>
              <a:gd name="connsiteX161" fmla="*/ 762956 w 2405174"/>
              <a:gd name="connsiteY161" fmla="*/ 1606002 h 1741714"/>
              <a:gd name="connsiteX162" fmla="*/ 765205 w 2405174"/>
              <a:gd name="connsiteY162" fmla="*/ 1603760 h 1741714"/>
              <a:gd name="connsiteX163" fmla="*/ 765205 w 2405174"/>
              <a:gd name="connsiteY163" fmla="*/ 1581696 h 1741714"/>
              <a:gd name="connsiteX164" fmla="*/ 776164 w 2405174"/>
              <a:gd name="connsiteY164" fmla="*/ 1570767 h 1741714"/>
              <a:gd name="connsiteX165" fmla="*/ 787123 w 2405174"/>
              <a:gd name="connsiteY165" fmla="*/ 1581696 h 1741714"/>
              <a:gd name="connsiteX166" fmla="*/ 787123 w 2405174"/>
              <a:gd name="connsiteY166" fmla="*/ 1603760 h 1741714"/>
              <a:gd name="connsiteX167" fmla="*/ 789372 w 2405174"/>
              <a:gd name="connsiteY167" fmla="*/ 1606002 h 1741714"/>
              <a:gd name="connsiteX168" fmla="*/ 791621 w 2405174"/>
              <a:gd name="connsiteY168" fmla="*/ 1603760 h 1741714"/>
              <a:gd name="connsiteX169" fmla="*/ 791621 w 2405174"/>
              <a:gd name="connsiteY169" fmla="*/ 1581696 h 1741714"/>
              <a:gd name="connsiteX170" fmla="*/ 802580 w 2405174"/>
              <a:gd name="connsiteY170" fmla="*/ 1570767 h 1741714"/>
              <a:gd name="connsiteX171" fmla="*/ 813539 w 2405174"/>
              <a:gd name="connsiteY171" fmla="*/ 1581696 h 1741714"/>
              <a:gd name="connsiteX172" fmla="*/ 813539 w 2405174"/>
              <a:gd name="connsiteY172" fmla="*/ 1603760 h 1741714"/>
              <a:gd name="connsiteX173" fmla="*/ 815788 w 2405174"/>
              <a:gd name="connsiteY173" fmla="*/ 1606002 h 1741714"/>
              <a:gd name="connsiteX174" fmla="*/ 818037 w 2405174"/>
              <a:gd name="connsiteY174" fmla="*/ 1603760 h 1741714"/>
              <a:gd name="connsiteX175" fmla="*/ 818037 w 2405174"/>
              <a:gd name="connsiteY175" fmla="*/ 1581696 h 1741714"/>
              <a:gd name="connsiteX176" fmla="*/ 813504 w 2405174"/>
              <a:gd name="connsiteY176" fmla="*/ 1570795 h 1741714"/>
              <a:gd name="connsiteX177" fmla="*/ 802589 w 2405174"/>
              <a:gd name="connsiteY177" fmla="*/ 1566270 h 1741714"/>
              <a:gd name="connsiteX178" fmla="*/ 802596 w 2405174"/>
              <a:gd name="connsiteY178" fmla="*/ 1566266 h 1741714"/>
              <a:gd name="connsiteX179" fmla="*/ 802580 w 2405174"/>
              <a:gd name="connsiteY179" fmla="*/ 1566266 h 1741714"/>
              <a:gd name="connsiteX180" fmla="*/ 802589 w 2405174"/>
              <a:gd name="connsiteY180" fmla="*/ 1566270 h 1741714"/>
              <a:gd name="connsiteX181" fmla="*/ 789388 w 2405174"/>
              <a:gd name="connsiteY181" fmla="*/ 1573720 h 1741714"/>
              <a:gd name="connsiteX182" fmla="*/ 776164 w 2405174"/>
              <a:gd name="connsiteY182" fmla="*/ 1566266 h 1741714"/>
              <a:gd name="connsiteX183" fmla="*/ 646839 w 2405174"/>
              <a:gd name="connsiteY183" fmla="*/ 1566266 h 1741714"/>
              <a:gd name="connsiteX184" fmla="*/ 635880 w 2405174"/>
              <a:gd name="connsiteY184" fmla="*/ 1570830 h 1741714"/>
              <a:gd name="connsiteX185" fmla="*/ 635880 w 2405174"/>
              <a:gd name="connsiteY185" fmla="*/ 1568556 h 1741714"/>
              <a:gd name="connsiteX186" fmla="*/ 633631 w 2405174"/>
              <a:gd name="connsiteY186" fmla="*/ 1566313 h 1741714"/>
              <a:gd name="connsiteX187" fmla="*/ 631382 w 2405174"/>
              <a:gd name="connsiteY187" fmla="*/ 1566313 h 1741714"/>
              <a:gd name="connsiteX188" fmla="*/ 631382 w 2405174"/>
              <a:gd name="connsiteY188" fmla="*/ 1568556 h 1741714"/>
              <a:gd name="connsiteX189" fmla="*/ 631382 w 2405174"/>
              <a:gd name="connsiteY189" fmla="*/ 1603760 h 1741714"/>
              <a:gd name="connsiteX190" fmla="*/ 633631 w 2405174"/>
              <a:gd name="connsiteY190" fmla="*/ 1606002 h 1741714"/>
              <a:gd name="connsiteX191" fmla="*/ 635880 w 2405174"/>
              <a:gd name="connsiteY191" fmla="*/ 1603760 h 1741714"/>
              <a:gd name="connsiteX192" fmla="*/ 635880 w 2405174"/>
              <a:gd name="connsiteY192" fmla="*/ 1581696 h 1741714"/>
              <a:gd name="connsiteX193" fmla="*/ 646839 w 2405174"/>
              <a:gd name="connsiteY193" fmla="*/ 1570767 h 1741714"/>
              <a:gd name="connsiteX194" fmla="*/ 657798 w 2405174"/>
              <a:gd name="connsiteY194" fmla="*/ 1581696 h 1741714"/>
              <a:gd name="connsiteX195" fmla="*/ 657798 w 2405174"/>
              <a:gd name="connsiteY195" fmla="*/ 1603760 h 1741714"/>
              <a:gd name="connsiteX196" fmla="*/ 660047 w 2405174"/>
              <a:gd name="connsiteY196" fmla="*/ 1606002 h 1741714"/>
              <a:gd name="connsiteX197" fmla="*/ 662296 w 2405174"/>
              <a:gd name="connsiteY197" fmla="*/ 1603760 h 1741714"/>
              <a:gd name="connsiteX198" fmla="*/ 662296 w 2405174"/>
              <a:gd name="connsiteY198" fmla="*/ 1581696 h 1741714"/>
              <a:gd name="connsiteX199" fmla="*/ 673255 w 2405174"/>
              <a:gd name="connsiteY199" fmla="*/ 1570767 h 1741714"/>
              <a:gd name="connsiteX200" fmla="*/ 684214 w 2405174"/>
              <a:gd name="connsiteY200" fmla="*/ 1581696 h 1741714"/>
              <a:gd name="connsiteX201" fmla="*/ 684214 w 2405174"/>
              <a:gd name="connsiteY201" fmla="*/ 1603760 h 1741714"/>
              <a:gd name="connsiteX202" fmla="*/ 686479 w 2405174"/>
              <a:gd name="connsiteY202" fmla="*/ 1606002 h 1741714"/>
              <a:gd name="connsiteX203" fmla="*/ 688712 w 2405174"/>
              <a:gd name="connsiteY203" fmla="*/ 1603760 h 1741714"/>
              <a:gd name="connsiteX204" fmla="*/ 688712 w 2405174"/>
              <a:gd name="connsiteY204" fmla="*/ 1581696 h 1741714"/>
              <a:gd name="connsiteX205" fmla="*/ 673255 w 2405174"/>
              <a:gd name="connsiteY205" fmla="*/ 1566266 h 1741714"/>
              <a:gd name="connsiteX206" fmla="*/ 660047 w 2405174"/>
              <a:gd name="connsiteY206" fmla="*/ 1573720 h 1741714"/>
              <a:gd name="connsiteX207" fmla="*/ 646839 w 2405174"/>
              <a:gd name="connsiteY207" fmla="*/ 1566266 h 1741714"/>
              <a:gd name="connsiteX208" fmla="*/ 917573 w 2405174"/>
              <a:gd name="connsiteY208" fmla="*/ 1554247 h 1741714"/>
              <a:gd name="connsiteX209" fmla="*/ 917573 w 2405174"/>
              <a:gd name="connsiteY209" fmla="*/ 1556490 h 1741714"/>
              <a:gd name="connsiteX210" fmla="*/ 919822 w 2405174"/>
              <a:gd name="connsiteY210" fmla="*/ 1558732 h 1741714"/>
              <a:gd name="connsiteX211" fmla="*/ 922055 w 2405174"/>
              <a:gd name="connsiteY211" fmla="*/ 1556490 h 1741714"/>
              <a:gd name="connsiteX212" fmla="*/ 919822 w 2405174"/>
              <a:gd name="connsiteY212" fmla="*/ 1554247 h 1741714"/>
              <a:gd name="connsiteX213" fmla="*/ 531244 w 2405174"/>
              <a:gd name="connsiteY213" fmla="*/ 1554247 h 1741714"/>
              <a:gd name="connsiteX214" fmla="*/ 531244 w 2405174"/>
              <a:gd name="connsiteY214" fmla="*/ 1556490 h 1741714"/>
              <a:gd name="connsiteX215" fmla="*/ 533493 w 2405174"/>
              <a:gd name="connsiteY215" fmla="*/ 1558732 h 1741714"/>
              <a:gd name="connsiteX216" fmla="*/ 535742 w 2405174"/>
              <a:gd name="connsiteY216" fmla="*/ 1556490 h 1741714"/>
              <a:gd name="connsiteX217" fmla="*/ 533493 w 2405174"/>
              <a:gd name="connsiteY217" fmla="*/ 1554247 h 1741714"/>
              <a:gd name="connsiteX218" fmla="*/ 363498 w 2405174"/>
              <a:gd name="connsiteY218" fmla="*/ 1554247 h 1741714"/>
              <a:gd name="connsiteX219" fmla="*/ 363498 w 2405174"/>
              <a:gd name="connsiteY219" fmla="*/ 1556490 h 1741714"/>
              <a:gd name="connsiteX220" fmla="*/ 365747 w 2405174"/>
              <a:gd name="connsiteY220" fmla="*/ 1558732 h 1741714"/>
              <a:gd name="connsiteX221" fmla="*/ 367996 w 2405174"/>
              <a:gd name="connsiteY221" fmla="*/ 1556490 h 1741714"/>
              <a:gd name="connsiteX222" fmla="*/ 365747 w 2405174"/>
              <a:gd name="connsiteY222" fmla="*/ 1554247 h 1741714"/>
              <a:gd name="connsiteX223" fmla="*/ 300989 w 2405174"/>
              <a:gd name="connsiteY223" fmla="*/ 1554247 h 1741714"/>
              <a:gd name="connsiteX224" fmla="*/ 300989 w 2405174"/>
              <a:gd name="connsiteY224" fmla="*/ 1556490 h 1741714"/>
              <a:gd name="connsiteX225" fmla="*/ 303238 w 2405174"/>
              <a:gd name="connsiteY225" fmla="*/ 1558732 h 1741714"/>
              <a:gd name="connsiteX226" fmla="*/ 305471 w 2405174"/>
              <a:gd name="connsiteY226" fmla="*/ 1556490 h 1741714"/>
              <a:gd name="connsiteX227" fmla="*/ 303238 w 2405174"/>
              <a:gd name="connsiteY227" fmla="*/ 1554247 h 1741714"/>
              <a:gd name="connsiteX228" fmla="*/ 906471 w 2405174"/>
              <a:gd name="connsiteY228" fmla="*/ 1549493 h 1741714"/>
              <a:gd name="connsiteX229" fmla="*/ 904222 w 2405174"/>
              <a:gd name="connsiteY229" fmla="*/ 1551736 h 1741714"/>
              <a:gd name="connsiteX230" fmla="*/ 904222 w 2405174"/>
              <a:gd name="connsiteY230" fmla="*/ 1573594 h 1741714"/>
              <a:gd name="connsiteX231" fmla="*/ 888797 w 2405174"/>
              <a:gd name="connsiteY231" fmla="*/ 1566297 h 1741714"/>
              <a:gd name="connsiteX232" fmla="*/ 868890 w 2405174"/>
              <a:gd name="connsiteY232" fmla="*/ 1586150 h 1741714"/>
              <a:gd name="connsiteX233" fmla="*/ 888797 w 2405174"/>
              <a:gd name="connsiteY233" fmla="*/ 1606002 h 1741714"/>
              <a:gd name="connsiteX234" fmla="*/ 908720 w 2405174"/>
              <a:gd name="connsiteY234" fmla="*/ 1606002 h 1741714"/>
              <a:gd name="connsiteX235" fmla="*/ 908720 w 2405174"/>
              <a:gd name="connsiteY235" fmla="*/ 1551736 h 1741714"/>
              <a:gd name="connsiteX236" fmla="*/ 906471 w 2405174"/>
              <a:gd name="connsiteY236" fmla="*/ 1549493 h 1741714"/>
              <a:gd name="connsiteX237" fmla="*/ 451457 w 2405174"/>
              <a:gd name="connsiteY237" fmla="*/ 1549493 h 1741714"/>
              <a:gd name="connsiteX238" fmla="*/ 449208 w 2405174"/>
              <a:gd name="connsiteY238" fmla="*/ 1551736 h 1741714"/>
              <a:gd name="connsiteX239" fmla="*/ 449208 w 2405174"/>
              <a:gd name="connsiteY239" fmla="*/ 1600332 h 1741714"/>
              <a:gd name="connsiteX240" fmla="*/ 454893 w 2405174"/>
              <a:gd name="connsiteY240" fmla="*/ 1606002 h 1741714"/>
              <a:gd name="connsiteX241" fmla="*/ 457142 w 2405174"/>
              <a:gd name="connsiteY241" fmla="*/ 1603759 h 1741714"/>
              <a:gd name="connsiteX242" fmla="*/ 454893 w 2405174"/>
              <a:gd name="connsiteY242" fmla="*/ 1601517 h 1741714"/>
              <a:gd name="connsiteX243" fmla="*/ 453706 w 2405174"/>
              <a:gd name="connsiteY243" fmla="*/ 1600332 h 1741714"/>
              <a:gd name="connsiteX244" fmla="*/ 453706 w 2405174"/>
              <a:gd name="connsiteY244" fmla="*/ 1551736 h 1741714"/>
              <a:gd name="connsiteX245" fmla="*/ 451457 w 2405174"/>
              <a:gd name="connsiteY245" fmla="*/ 1549493 h 1741714"/>
              <a:gd name="connsiteX246" fmla="*/ 385385 w 2405174"/>
              <a:gd name="connsiteY246" fmla="*/ 1549478 h 1741714"/>
              <a:gd name="connsiteX247" fmla="*/ 383136 w 2405174"/>
              <a:gd name="connsiteY247" fmla="*/ 1551721 h 1741714"/>
              <a:gd name="connsiteX248" fmla="*/ 383136 w 2405174"/>
              <a:gd name="connsiteY248" fmla="*/ 1566282 h 1741714"/>
              <a:gd name="connsiteX249" fmla="*/ 379367 w 2405174"/>
              <a:gd name="connsiteY249" fmla="*/ 1566282 h 1741714"/>
              <a:gd name="connsiteX250" fmla="*/ 377118 w 2405174"/>
              <a:gd name="connsiteY250" fmla="*/ 1568525 h 1741714"/>
              <a:gd name="connsiteX251" fmla="*/ 379367 w 2405174"/>
              <a:gd name="connsiteY251" fmla="*/ 1570768 h 1741714"/>
              <a:gd name="connsiteX252" fmla="*/ 383136 w 2405174"/>
              <a:gd name="connsiteY252" fmla="*/ 1570768 h 1741714"/>
              <a:gd name="connsiteX253" fmla="*/ 383136 w 2405174"/>
              <a:gd name="connsiteY253" fmla="*/ 1594079 h 1741714"/>
              <a:gd name="connsiteX254" fmla="*/ 395077 w 2405174"/>
              <a:gd name="connsiteY254" fmla="*/ 1605987 h 1741714"/>
              <a:gd name="connsiteX255" fmla="*/ 397738 w 2405174"/>
              <a:gd name="connsiteY255" fmla="*/ 1605687 h 1741714"/>
              <a:gd name="connsiteX256" fmla="*/ 399425 w 2405174"/>
              <a:gd name="connsiteY256" fmla="*/ 1603014 h 1741714"/>
              <a:gd name="connsiteX257" fmla="*/ 399432 w 2405174"/>
              <a:gd name="connsiteY257" fmla="*/ 1603018 h 1741714"/>
              <a:gd name="connsiteX258" fmla="*/ 399432 w 2405174"/>
              <a:gd name="connsiteY258" fmla="*/ 1603002 h 1741714"/>
              <a:gd name="connsiteX259" fmla="*/ 399425 w 2405174"/>
              <a:gd name="connsiteY259" fmla="*/ 1603014 h 1741714"/>
              <a:gd name="connsiteX260" fmla="*/ 396740 w 2405174"/>
              <a:gd name="connsiteY260" fmla="*/ 1601328 h 1741714"/>
              <a:gd name="connsiteX261" fmla="*/ 395077 w 2405174"/>
              <a:gd name="connsiteY261" fmla="*/ 1601517 h 1741714"/>
              <a:gd name="connsiteX262" fmla="*/ 387634 w 2405174"/>
              <a:gd name="connsiteY262" fmla="*/ 1594079 h 1741714"/>
              <a:gd name="connsiteX263" fmla="*/ 387634 w 2405174"/>
              <a:gd name="connsiteY263" fmla="*/ 1570768 h 1741714"/>
              <a:gd name="connsiteX264" fmla="*/ 393969 w 2405174"/>
              <a:gd name="connsiteY264" fmla="*/ 1570768 h 1741714"/>
              <a:gd name="connsiteX265" fmla="*/ 396217 w 2405174"/>
              <a:gd name="connsiteY265" fmla="*/ 1568525 h 1741714"/>
              <a:gd name="connsiteX266" fmla="*/ 393969 w 2405174"/>
              <a:gd name="connsiteY266" fmla="*/ 1566282 h 1741714"/>
              <a:gd name="connsiteX267" fmla="*/ 387634 w 2405174"/>
              <a:gd name="connsiteY267" fmla="*/ 1566282 h 1741714"/>
              <a:gd name="connsiteX268" fmla="*/ 387634 w 2405174"/>
              <a:gd name="connsiteY268" fmla="*/ 1551721 h 1741714"/>
              <a:gd name="connsiteX269" fmla="*/ 385385 w 2405174"/>
              <a:gd name="connsiteY269" fmla="*/ 1549478 h 1741714"/>
              <a:gd name="connsiteX270" fmla="*/ 289935 w 2405174"/>
              <a:gd name="connsiteY270" fmla="*/ 1549478 h 1741714"/>
              <a:gd name="connsiteX271" fmla="*/ 287687 w 2405174"/>
              <a:gd name="connsiteY271" fmla="*/ 1551721 h 1741714"/>
              <a:gd name="connsiteX272" fmla="*/ 287687 w 2405174"/>
              <a:gd name="connsiteY272" fmla="*/ 1573579 h 1741714"/>
              <a:gd name="connsiteX273" fmla="*/ 272277 w 2405174"/>
              <a:gd name="connsiteY273" fmla="*/ 1566282 h 1741714"/>
              <a:gd name="connsiteX274" fmla="*/ 252370 w 2405174"/>
              <a:gd name="connsiteY274" fmla="*/ 1586135 h 1741714"/>
              <a:gd name="connsiteX275" fmla="*/ 272277 w 2405174"/>
              <a:gd name="connsiteY275" fmla="*/ 1606003 h 1741714"/>
              <a:gd name="connsiteX276" fmla="*/ 292184 w 2405174"/>
              <a:gd name="connsiteY276" fmla="*/ 1606003 h 1741714"/>
              <a:gd name="connsiteX277" fmla="*/ 292184 w 2405174"/>
              <a:gd name="connsiteY277" fmla="*/ 1605987 h 1741714"/>
              <a:gd name="connsiteX278" fmla="*/ 292184 w 2405174"/>
              <a:gd name="connsiteY278" fmla="*/ 1551721 h 1741714"/>
              <a:gd name="connsiteX279" fmla="*/ 289935 w 2405174"/>
              <a:gd name="connsiteY279" fmla="*/ 1549478 h 1741714"/>
              <a:gd name="connsiteX280" fmla="*/ 527547 w 2405174"/>
              <a:gd name="connsiteY280" fmla="*/ 1444586 h 1741714"/>
              <a:gd name="connsiteX281" fmla="*/ 527555 w 2405174"/>
              <a:gd name="connsiteY281" fmla="*/ 1444626 h 1741714"/>
              <a:gd name="connsiteX282" fmla="*/ 527547 w 2405174"/>
              <a:gd name="connsiteY282" fmla="*/ 1444666 h 1741714"/>
              <a:gd name="connsiteX283" fmla="*/ 527539 w 2405174"/>
              <a:gd name="connsiteY283" fmla="*/ 1444626 h 1741714"/>
              <a:gd name="connsiteX284" fmla="*/ 252370 w 2405174"/>
              <a:gd name="connsiteY284" fmla="*/ 1374724 h 1741714"/>
              <a:gd name="connsiteX285" fmla="*/ 252370 w 2405174"/>
              <a:gd name="connsiteY285" fmla="*/ 1444626 h 1741714"/>
              <a:gd name="connsiteX286" fmla="*/ 321166 w 2405174"/>
              <a:gd name="connsiteY286" fmla="*/ 1514543 h 1741714"/>
              <a:gd name="connsiteX287" fmla="*/ 389962 w 2405174"/>
              <a:gd name="connsiteY287" fmla="*/ 1444626 h 1741714"/>
              <a:gd name="connsiteX288" fmla="*/ 458758 w 2405174"/>
              <a:gd name="connsiteY288" fmla="*/ 1514543 h 1741714"/>
              <a:gd name="connsiteX289" fmla="*/ 522148 w 2405174"/>
              <a:gd name="connsiteY289" fmla="*/ 1471848 h 1741714"/>
              <a:gd name="connsiteX290" fmla="*/ 527547 w 2405174"/>
              <a:gd name="connsiteY290" fmla="*/ 1444666 h 1741714"/>
              <a:gd name="connsiteX291" fmla="*/ 532944 w 2405174"/>
              <a:gd name="connsiteY291" fmla="*/ 1471841 h 1741714"/>
              <a:gd name="connsiteX292" fmla="*/ 596335 w 2405174"/>
              <a:gd name="connsiteY292" fmla="*/ 1514543 h 1741714"/>
              <a:gd name="connsiteX293" fmla="*/ 630733 w 2405174"/>
              <a:gd name="connsiteY293" fmla="*/ 1505178 h 1741714"/>
              <a:gd name="connsiteX294" fmla="*/ 665131 w 2405174"/>
              <a:gd name="connsiteY294" fmla="*/ 1514543 h 1741714"/>
              <a:gd name="connsiteX295" fmla="*/ 733927 w 2405174"/>
              <a:gd name="connsiteY295" fmla="*/ 1444626 h 1741714"/>
              <a:gd name="connsiteX296" fmla="*/ 665147 w 2405174"/>
              <a:gd name="connsiteY296" fmla="*/ 1374724 h 1741714"/>
              <a:gd name="connsiteX297" fmla="*/ 630749 w 2405174"/>
              <a:gd name="connsiteY297" fmla="*/ 1384074 h 1741714"/>
              <a:gd name="connsiteX298" fmla="*/ 630733 w 2405174"/>
              <a:gd name="connsiteY298" fmla="*/ 1384074 h 1741714"/>
              <a:gd name="connsiteX299" fmla="*/ 596335 w 2405174"/>
              <a:gd name="connsiteY299" fmla="*/ 1374724 h 1741714"/>
              <a:gd name="connsiteX300" fmla="*/ 532944 w 2405174"/>
              <a:gd name="connsiteY300" fmla="*/ 1417413 h 1741714"/>
              <a:gd name="connsiteX301" fmla="*/ 527547 w 2405174"/>
              <a:gd name="connsiteY301" fmla="*/ 1444586 h 1741714"/>
              <a:gd name="connsiteX302" fmla="*/ 522146 w 2405174"/>
              <a:gd name="connsiteY302" fmla="*/ 1417406 h 1741714"/>
              <a:gd name="connsiteX303" fmla="*/ 458758 w 2405174"/>
              <a:gd name="connsiteY303" fmla="*/ 1374724 h 1741714"/>
              <a:gd name="connsiteX304" fmla="*/ 389962 w 2405174"/>
              <a:gd name="connsiteY304" fmla="*/ 1444626 h 1741714"/>
              <a:gd name="connsiteX305" fmla="*/ 321166 w 2405174"/>
              <a:gd name="connsiteY305" fmla="*/ 1374724 h 1741714"/>
              <a:gd name="connsiteX306" fmla="*/ 0 w 2405174"/>
              <a:gd name="connsiteY306" fmla="*/ 0 h 1741714"/>
              <a:gd name="connsiteX307" fmla="*/ 2405174 w 2405174"/>
              <a:gd name="connsiteY307" fmla="*/ 0 h 1741714"/>
              <a:gd name="connsiteX308" fmla="*/ 2405174 w 2405174"/>
              <a:gd name="connsiteY308" fmla="*/ 1741714 h 1741714"/>
              <a:gd name="connsiteX309" fmla="*/ 0 w 2405174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405174" h="1741714">
                <a:moveTo>
                  <a:pt x="950736" y="1570768"/>
                </a:moveTo>
                <a:cubicBezTo>
                  <a:pt x="959241" y="1570768"/>
                  <a:pt x="966161" y="1577669"/>
                  <a:pt x="966161" y="1586135"/>
                </a:cubicBezTo>
                <a:lnTo>
                  <a:pt x="966161" y="1601517"/>
                </a:lnTo>
                <a:lnTo>
                  <a:pt x="950736" y="1601517"/>
                </a:lnTo>
                <a:cubicBezTo>
                  <a:pt x="942247" y="1601517"/>
                  <a:pt x="935327" y="1594600"/>
                  <a:pt x="935327" y="1586135"/>
                </a:cubicBezTo>
                <a:cubicBezTo>
                  <a:pt x="935327" y="1577669"/>
                  <a:pt x="942232" y="1570768"/>
                  <a:pt x="950736" y="1570768"/>
                </a:cubicBezTo>
                <a:close/>
                <a:moveTo>
                  <a:pt x="842838" y="1570768"/>
                </a:moveTo>
                <a:cubicBezTo>
                  <a:pt x="850567" y="1570768"/>
                  <a:pt x="856997" y="1576485"/>
                  <a:pt x="858089" y="1583892"/>
                </a:cubicBezTo>
                <a:lnTo>
                  <a:pt x="827587" y="1583892"/>
                </a:lnTo>
                <a:cubicBezTo>
                  <a:pt x="828680" y="1576485"/>
                  <a:pt x="835110" y="1570768"/>
                  <a:pt x="842838" y="1570768"/>
                </a:cubicBezTo>
                <a:close/>
                <a:moveTo>
                  <a:pt x="714257" y="1570768"/>
                </a:moveTo>
                <a:cubicBezTo>
                  <a:pt x="722762" y="1570768"/>
                  <a:pt x="729683" y="1577669"/>
                  <a:pt x="729683" y="1586135"/>
                </a:cubicBezTo>
                <a:lnTo>
                  <a:pt x="729683" y="1601517"/>
                </a:lnTo>
                <a:lnTo>
                  <a:pt x="714257" y="1601517"/>
                </a:lnTo>
                <a:cubicBezTo>
                  <a:pt x="705769" y="1601517"/>
                  <a:pt x="698848" y="1594600"/>
                  <a:pt x="698848" y="1586135"/>
                </a:cubicBezTo>
                <a:cubicBezTo>
                  <a:pt x="698848" y="1577669"/>
                  <a:pt x="705769" y="1570768"/>
                  <a:pt x="714257" y="1570768"/>
                </a:cubicBezTo>
                <a:close/>
                <a:moveTo>
                  <a:pt x="606407" y="1570768"/>
                </a:moveTo>
                <a:cubicBezTo>
                  <a:pt x="614136" y="1570768"/>
                  <a:pt x="620566" y="1576485"/>
                  <a:pt x="621658" y="1583892"/>
                </a:cubicBezTo>
                <a:lnTo>
                  <a:pt x="591156" y="1583892"/>
                </a:lnTo>
                <a:cubicBezTo>
                  <a:pt x="592233" y="1576485"/>
                  <a:pt x="598679" y="1570768"/>
                  <a:pt x="606407" y="1570768"/>
                </a:cubicBezTo>
                <a:close/>
                <a:moveTo>
                  <a:pt x="423393" y="1570768"/>
                </a:moveTo>
                <a:cubicBezTo>
                  <a:pt x="431898" y="1570768"/>
                  <a:pt x="438803" y="1577669"/>
                  <a:pt x="438803" y="1586135"/>
                </a:cubicBezTo>
                <a:lnTo>
                  <a:pt x="438803" y="1601517"/>
                </a:lnTo>
                <a:lnTo>
                  <a:pt x="423393" y="1601517"/>
                </a:lnTo>
                <a:cubicBezTo>
                  <a:pt x="414889" y="1601517"/>
                  <a:pt x="407984" y="1594600"/>
                  <a:pt x="407984" y="1586135"/>
                </a:cubicBezTo>
                <a:cubicBezTo>
                  <a:pt x="407984" y="1577669"/>
                  <a:pt x="414889" y="1570768"/>
                  <a:pt x="423393" y="1570768"/>
                </a:cubicBezTo>
                <a:close/>
                <a:moveTo>
                  <a:pt x="272277" y="1570768"/>
                </a:moveTo>
                <a:cubicBezTo>
                  <a:pt x="280766" y="1570768"/>
                  <a:pt x="287687" y="1577669"/>
                  <a:pt x="287687" y="1586135"/>
                </a:cubicBezTo>
                <a:lnTo>
                  <a:pt x="287687" y="1601517"/>
                </a:lnTo>
                <a:lnTo>
                  <a:pt x="272277" y="1601517"/>
                </a:lnTo>
                <a:cubicBezTo>
                  <a:pt x="263789" y="1601517"/>
                  <a:pt x="256868" y="1594600"/>
                  <a:pt x="256868" y="1586135"/>
                </a:cubicBezTo>
                <a:cubicBezTo>
                  <a:pt x="256868" y="1577669"/>
                  <a:pt x="263789" y="1570768"/>
                  <a:pt x="272277" y="1570768"/>
                </a:cubicBezTo>
                <a:close/>
                <a:moveTo>
                  <a:pt x="888813" y="1570767"/>
                </a:moveTo>
                <a:cubicBezTo>
                  <a:pt x="897317" y="1570767"/>
                  <a:pt x="904238" y="1577668"/>
                  <a:pt x="904238" y="1586134"/>
                </a:cubicBezTo>
                <a:lnTo>
                  <a:pt x="904238" y="1601517"/>
                </a:lnTo>
                <a:lnTo>
                  <a:pt x="888813" y="1601517"/>
                </a:lnTo>
                <a:cubicBezTo>
                  <a:pt x="880324" y="1601517"/>
                  <a:pt x="873404" y="1594599"/>
                  <a:pt x="873404" y="1586134"/>
                </a:cubicBezTo>
                <a:cubicBezTo>
                  <a:pt x="873404" y="1577668"/>
                  <a:pt x="880324" y="1570767"/>
                  <a:pt x="888813" y="1570767"/>
                </a:cubicBezTo>
                <a:close/>
                <a:moveTo>
                  <a:pt x="334643" y="1570767"/>
                </a:moveTo>
                <a:cubicBezTo>
                  <a:pt x="343132" y="1570767"/>
                  <a:pt x="350053" y="1577653"/>
                  <a:pt x="350053" y="1586134"/>
                </a:cubicBezTo>
                <a:cubicBezTo>
                  <a:pt x="350053" y="1594615"/>
                  <a:pt x="343132" y="1601517"/>
                  <a:pt x="334643" y="1601517"/>
                </a:cubicBezTo>
                <a:cubicBezTo>
                  <a:pt x="326155" y="1601517"/>
                  <a:pt x="319234" y="1594615"/>
                  <a:pt x="319234" y="1586134"/>
                </a:cubicBezTo>
                <a:cubicBezTo>
                  <a:pt x="319234" y="1577653"/>
                  <a:pt x="326155" y="1570767"/>
                  <a:pt x="334643" y="1570767"/>
                </a:cubicBezTo>
                <a:close/>
                <a:moveTo>
                  <a:pt x="543866" y="1566313"/>
                </a:moveTo>
                <a:lnTo>
                  <a:pt x="543866" y="1603759"/>
                </a:lnTo>
                <a:cubicBezTo>
                  <a:pt x="543866" y="1604991"/>
                  <a:pt x="544880" y="1606002"/>
                  <a:pt x="546115" y="1606002"/>
                </a:cubicBezTo>
                <a:cubicBezTo>
                  <a:pt x="547350" y="1606002"/>
                  <a:pt x="548364" y="1604991"/>
                  <a:pt x="548364" y="1603759"/>
                </a:cubicBezTo>
                <a:lnTo>
                  <a:pt x="548364" y="1589593"/>
                </a:lnTo>
                <a:lnTo>
                  <a:pt x="548364" y="1584507"/>
                </a:lnTo>
                <a:cubicBezTo>
                  <a:pt x="548364" y="1576942"/>
                  <a:pt x="554540" y="1570798"/>
                  <a:pt x="562126" y="1570798"/>
                </a:cubicBezTo>
                <a:cubicBezTo>
                  <a:pt x="569712" y="1570798"/>
                  <a:pt x="575889" y="1576958"/>
                  <a:pt x="575889" y="1584523"/>
                </a:cubicBezTo>
                <a:lnTo>
                  <a:pt x="575889" y="1603759"/>
                </a:lnTo>
                <a:cubicBezTo>
                  <a:pt x="575889" y="1604991"/>
                  <a:pt x="576902" y="1606002"/>
                  <a:pt x="578137" y="1606002"/>
                </a:cubicBezTo>
                <a:cubicBezTo>
                  <a:pt x="579373" y="1606002"/>
                  <a:pt x="580386" y="1604991"/>
                  <a:pt x="580386" y="1603759"/>
                </a:cubicBezTo>
                <a:lnTo>
                  <a:pt x="580386" y="1584523"/>
                </a:lnTo>
                <a:cubicBezTo>
                  <a:pt x="580386" y="1574478"/>
                  <a:pt x="572198" y="1566313"/>
                  <a:pt x="562142" y="1566313"/>
                </a:cubicBezTo>
                <a:lnTo>
                  <a:pt x="562126" y="1566313"/>
                </a:lnTo>
                <a:cubicBezTo>
                  <a:pt x="556631" y="1566313"/>
                  <a:pt x="551721" y="1568745"/>
                  <a:pt x="548364" y="1572567"/>
                </a:cubicBezTo>
                <a:lnTo>
                  <a:pt x="548364" y="1568556"/>
                </a:lnTo>
                <a:cubicBezTo>
                  <a:pt x="548364" y="1567308"/>
                  <a:pt x="547366" y="1566313"/>
                  <a:pt x="546115" y="1566313"/>
                </a:cubicBezTo>
                <a:close/>
                <a:moveTo>
                  <a:pt x="950736" y="1566298"/>
                </a:moveTo>
                <a:cubicBezTo>
                  <a:pt x="939761" y="1566298"/>
                  <a:pt x="930829" y="1575205"/>
                  <a:pt x="930829" y="1586150"/>
                </a:cubicBezTo>
                <a:cubicBezTo>
                  <a:pt x="930829" y="1597095"/>
                  <a:pt x="939761" y="1606003"/>
                  <a:pt x="950736" y="1606003"/>
                </a:cubicBezTo>
                <a:lnTo>
                  <a:pt x="970643" y="1606003"/>
                </a:lnTo>
                <a:lnTo>
                  <a:pt x="970643" y="1586150"/>
                </a:lnTo>
                <a:cubicBezTo>
                  <a:pt x="970643" y="1575205"/>
                  <a:pt x="961711" y="1566298"/>
                  <a:pt x="950736" y="1566298"/>
                </a:cubicBezTo>
                <a:close/>
                <a:moveTo>
                  <a:pt x="842838" y="1566298"/>
                </a:moveTo>
                <a:cubicBezTo>
                  <a:pt x="831863" y="1566298"/>
                  <a:pt x="822931" y="1575205"/>
                  <a:pt x="822931" y="1586150"/>
                </a:cubicBezTo>
                <a:cubicBezTo>
                  <a:pt x="822931" y="1597095"/>
                  <a:pt x="831863" y="1606003"/>
                  <a:pt x="842838" y="1606003"/>
                </a:cubicBezTo>
                <a:cubicBezTo>
                  <a:pt x="847288" y="1606003"/>
                  <a:pt x="851517" y="1604565"/>
                  <a:pt x="855033" y="1601849"/>
                </a:cubicBezTo>
                <a:cubicBezTo>
                  <a:pt x="856015" y="1601091"/>
                  <a:pt x="856189" y="1599685"/>
                  <a:pt x="855429" y="1598706"/>
                </a:cubicBezTo>
                <a:cubicBezTo>
                  <a:pt x="854668" y="1597727"/>
                  <a:pt x="853259" y="1597569"/>
                  <a:pt x="852277" y="1598311"/>
                </a:cubicBezTo>
                <a:cubicBezTo>
                  <a:pt x="849553" y="1600412"/>
                  <a:pt x="846291" y="1601533"/>
                  <a:pt x="842838" y="1601533"/>
                </a:cubicBezTo>
                <a:cubicBezTo>
                  <a:pt x="835110" y="1601533"/>
                  <a:pt x="828680" y="1595816"/>
                  <a:pt x="827587" y="1588393"/>
                </a:cubicBezTo>
                <a:lnTo>
                  <a:pt x="860496" y="1588393"/>
                </a:lnTo>
                <a:cubicBezTo>
                  <a:pt x="861732" y="1588393"/>
                  <a:pt x="862745" y="1587398"/>
                  <a:pt x="862745" y="1586150"/>
                </a:cubicBezTo>
                <a:cubicBezTo>
                  <a:pt x="862745" y="1575205"/>
                  <a:pt x="853813" y="1566298"/>
                  <a:pt x="842838" y="1566298"/>
                </a:cubicBezTo>
                <a:close/>
                <a:moveTo>
                  <a:pt x="714257" y="1566298"/>
                </a:moveTo>
                <a:cubicBezTo>
                  <a:pt x="703282" y="1566298"/>
                  <a:pt x="694350" y="1575205"/>
                  <a:pt x="694350" y="1586150"/>
                </a:cubicBezTo>
                <a:cubicBezTo>
                  <a:pt x="694350" y="1597095"/>
                  <a:pt x="703282" y="1606003"/>
                  <a:pt x="714257" y="1606003"/>
                </a:cubicBezTo>
                <a:lnTo>
                  <a:pt x="734180" y="1606003"/>
                </a:lnTo>
                <a:lnTo>
                  <a:pt x="734180" y="1586150"/>
                </a:lnTo>
                <a:cubicBezTo>
                  <a:pt x="734180" y="1575205"/>
                  <a:pt x="725232" y="1566298"/>
                  <a:pt x="714257" y="1566298"/>
                </a:cubicBezTo>
                <a:close/>
                <a:moveTo>
                  <a:pt x="606407" y="1566298"/>
                </a:moveTo>
                <a:cubicBezTo>
                  <a:pt x="595432" y="1566298"/>
                  <a:pt x="586500" y="1575205"/>
                  <a:pt x="586500" y="1586150"/>
                </a:cubicBezTo>
                <a:cubicBezTo>
                  <a:pt x="586500" y="1597095"/>
                  <a:pt x="595432" y="1606003"/>
                  <a:pt x="606407" y="1606003"/>
                </a:cubicBezTo>
                <a:cubicBezTo>
                  <a:pt x="610873" y="1606003"/>
                  <a:pt x="615086" y="1604565"/>
                  <a:pt x="618602" y="1601849"/>
                </a:cubicBezTo>
                <a:cubicBezTo>
                  <a:pt x="619584" y="1601091"/>
                  <a:pt x="619758" y="1599685"/>
                  <a:pt x="618998" y="1598706"/>
                </a:cubicBezTo>
                <a:cubicBezTo>
                  <a:pt x="618237" y="1597727"/>
                  <a:pt x="616828" y="1597569"/>
                  <a:pt x="615846" y="1598311"/>
                </a:cubicBezTo>
                <a:cubicBezTo>
                  <a:pt x="613122" y="1600412"/>
                  <a:pt x="609860" y="1601533"/>
                  <a:pt x="606407" y="1601533"/>
                </a:cubicBezTo>
                <a:cubicBezTo>
                  <a:pt x="598663" y="1601533"/>
                  <a:pt x="592233" y="1595816"/>
                  <a:pt x="591156" y="1588393"/>
                </a:cubicBezTo>
                <a:lnTo>
                  <a:pt x="624065" y="1588393"/>
                </a:lnTo>
                <a:cubicBezTo>
                  <a:pt x="625301" y="1588393"/>
                  <a:pt x="626314" y="1587398"/>
                  <a:pt x="626314" y="1586150"/>
                </a:cubicBezTo>
                <a:cubicBezTo>
                  <a:pt x="626314" y="1575205"/>
                  <a:pt x="617382" y="1566298"/>
                  <a:pt x="606407" y="1566298"/>
                </a:cubicBezTo>
                <a:close/>
                <a:moveTo>
                  <a:pt x="507092" y="1566298"/>
                </a:moveTo>
                <a:cubicBezTo>
                  <a:pt x="496117" y="1566298"/>
                  <a:pt x="487185" y="1575205"/>
                  <a:pt x="487185" y="1586150"/>
                </a:cubicBezTo>
                <a:cubicBezTo>
                  <a:pt x="487185" y="1597095"/>
                  <a:pt x="496117" y="1606003"/>
                  <a:pt x="507092" y="1606003"/>
                </a:cubicBezTo>
                <a:cubicBezTo>
                  <a:pt x="511701" y="1606003"/>
                  <a:pt x="516198" y="1604392"/>
                  <a:pt x="519762" y="1601454"/>
                </a:cubicBezTo>
                <a:cubicBezTo>
                  <a:pt x="520712" y="1600664"/>
                  <a:pt x="520855" y="1599259"/>
                  <a:pt x="520063" y="1598295"/>
                </a:cubicBezTo>
                <a:cubicBezTo>
                  <a:pt x="519271" y="1597348"/>
                  <a:pt x="517861" y="1597222"/>
                  <a:pt x="516895" y="1597995"/>
                </a:cubicBezTo>
                <a:cubicBezTo>
                  <a:pt x="514155" y="1600270"/>
                  <a:pt x="510655" y="1601517"/>
                  <a:pt x="507092" y="1601517"/>
                </a:cubicBezTo>
                <a:cubicBezTo>
                  <a:pt x="498588" y="1601517"/>
                  <a:pt x="491667" y="1594600"/>
                  <a:pt x="491667" y="1586135"/>
                </a:cubicBezTo>
                <a:cubicBezTo>
                  <a:pt x="491667" y="1577669"/>
                  <a:pt x="498588" y="1570768"/>
                  <a:pt x="507092" y="1570768"/>
                </a:cubicBezTo>
                <a:cubicBezTo>
                  <a:pt x="510655" y="1570768"/>
                  <a:pt x="514140" y="1572015"/>
                  <a:pt x="516895" y="1574289"/>
                </a:cubicBezTo>
                <a:cubicBezTo>
                  <a:pt x="517861" y="1575079"/>
                  <a:pt x="519271" y="1574953"/>
                  <a:pt x="520063" y="1573989"/>
                </a:cubicBezTo>
                <a:cubicBezTo>
                  <a:pt x="520855" y="1573026"/>
                  <a:pt x="520728" y="1571620"/>
                  <a:pt x="519762" y="1570831"/>
                </a:cubicBezTo>
                <a:cubicBezTo>
                  <a:pt x="516214" y="1567909"/>
                  <a:pt x="511701" y="1566298"/>
                  <a:pt x="507092" y="1566298"/>
                </a:cubicBezTo>
                <a:close/>
                <a:moveTo>
                  <a:pt x="423409" y="1566298"/>
                </a:moveTo>
                <a:cubicBezTo>
                  <a:pt x="412450" y="1566298"/>
                  <a:pt x="403502" y="1575205"/>
                  <a:pt x="403502" y="1586150"/>
                </a:cubicBezTo>
                <a:cubicBezTo>
                  <a:pt x="403502" y="1597095"/>
                  <a:pt x="412434" y="1606003"/>
                  <a:pt x="423409" y="1606003"/>
                </a:cubicBezTo>
                <a:lnTo>
                  <a:pt x="443316" y="1606003"/>
                </a:lnTo>
                <a:lnTo>
                  <a:pt x="443316" y="1586150"/>
                </a:lnTo>
                <a:cubicBezTo>
                  <a:pt x="443316" y="1575205"/>
                  <a:pt x="434368" y="1566298"/>
                  <a:pt x="423409" y="1566298"/>
                </a:cubicBezTo>
                <a:close/>
                <a:moveTo>
                  <a:pt x="919822" y="1566282"/>
                </a:moveTo>
                <a:cubicBezTo>
                  <a:pt x="918587" y="1566282"/>
                  <a:pt x="917573" y="1567277"/>
                  <a:pt x="917573" y="1568525"/>
                </a:cubicBezTo>
                <a:lnTo>
                  <a:pt x="917573" y="1603760"/>
                </a:lnTo>
                <a:cubicBezTo>
                  <a:pt x="917573" y="1604992"/>
                  <a:pt x="918587" y="1606002"/>
                  <a:pt x="919822" y="1606002"/>
                </a:cubicBezTo>
                <a:cubicBezTo>
                  <a:pt x="921057" y="1606002"/>
                  <a:pt x="922055" y="1604992"/>
                  <a:pt x="922055" y="1603760"/>
                </a:cubicBezTo>
                <a:lnTo>
                  <a:pt x="922055" y="1568525"/>
                </a:lnTo>
                <a:cubicBezTo>
                  <a:pt x="922055" y="1567277"/>
                  <a:pt x="921057" y="1566282"/>
                  <a:pt x="919822" y="1566282"/>
                </a:cubicBezTo>
                <a:close/>
                <a:moveTo>
                  <a:pt x="533493" y="1566282"/>
                </a:moveTo>
                <a:cubicBezTo>
                  <a:pt x="532258" y="1566282"/>
                  <a:pt x="531244" y="1567277"/>
                  <a:pt x="531244" y="1568525"/>
                </a:cubicBezTo>
                <a:lnTo>
                  <a:pt x="531244" y="1603760"/>
                </a:lnTo>
                <a:cubicBezTo>
                  <a:pt x="531244" y="1604992"/>
                  <a:pt x="532242" y="1606002"/>
                  <a:pt x="533493" y="1606002"/>
                </a:cubicBezTo>
                <a:cubicBezTo>
                  <a:pt x="534744" y="1606002"/>
                  <a:pt x="535742" y="1604992"/>
                  <a:pt x="535742" y="1603760"/>
                </a:cubicBezTo>
                <a:lnTo>
                  <a:pt x="535742" y="1568525"/>
                </a:lnTo>
                <a:cubicBezTo>
                  <a:pt x="535742" y="1567277"/>
                  <a:pt x="534728" y="1566282"/>
                  <a:pt x="533493" y="1566282"/>
                </a:cubicBezTo>
                <a:close/>
                <a:moveTo>
                  <a:pt x="365747" y="1566282"/>
                </a:moveTo>
                <a:cubicBezTo>
                  <a:pt x="364512" y="1566282"/>
                  <a:pt x="363498" y="1567277"/>
                  <a:pt x="363498" y="1568525"/>
                </a:cubicBezTo>
                <a:lnTo>
                  <a:pt x="363498" y="1603760"/>
                </a:lnTo>
                <a:cubicBezTo>
                  <a:pt x="363498" y="1604992"/>
                  <a:pt x="364512" y="1606002"/>
                  <a:pt x="365747" y="1606002"/>
                </a:cubicBezTo>
                <a:cubicBezTo>
                  <a:pt x="366998" y="1606002"/>
                  <a:pt x="367996" y="1604992"/>
                  <a:pt x="367996" y="1603760"/>
                </a:cubicBezTo>
                <a:lnTo>
                  <a:pt x="367996" y="1568525"/>
                </a:lnTo>
                <a:cubicBezTo>
                  <a:pt x="367996" y="1567277"/>
                  <a:pt x="366982" y="1566282"/>
                  <a:pt x="365747" y="1566282"/>
                </a:cubicBezTo>
                <a:close/>
                <a:moveTo>
                  <a:pt x="334643" y="1566282"/>
                </a:moveTo>
                <a:cubicBezTo>
                  <a:pt x="323668" y="1566282"/>
                  <a:pt x="314736" y="1575189"/>
                  <a:pt x="314736" y="1586134"/>
                </a:cubicBezTo>
                <a:cubicBezTo>
                  <a:pt x="314736" y="1597079"/>
                  <a:pt x="323668" y="1605987"/>
                  <a:pt x="334643" y="1605987"/>
                </a:cubicBezTo>
                <a:cubicBezTo>
                  <a:pt x="340835" y="1605987"/>
                  <a:pt x="346394" y="1603144"/>
                  <a:pt x="350053" y="1598690"/>
                </a:cubicBezTo>
                <a:lnTo>
                  <a:pt x="350053" y="1603760"/>
                </a:lnTo>
                <a:cubicBezTo>
                  <a:pt x="350053" y="1612225"/>
                  <a:pt x="343132" y="1619127"/>
                  <a:pt x="334643" y="1619127"/>
                </a:cubicBezTo>
                <a:cubicBezTo>
                  <a:pt x="328467" y="1619127"/>
                  <a:pt x="322908" y="1615479"/>
                  <a:pt x="320469" y="1609824"/>
                </a:cubicBezTo>
                <a:cubicBezTo>
                  <a:pt x="319978" y="1608687"/>
                  <a:pt x="318664" y="1608166"/>
                  <a:pt x="317507" y="1608656"/>
                </a:cubicBezTo>
                <a:cubicBezTo>
                  <a:pt x="316383" y="1609145"/>
                  <a:pt x="315845" y="1610456"/>
                  <a:pt x="316336" y="1611609"/>
                </a:cubicBezTo>
                <a:cubicBezTo>
                  <a:pt x="319487" y="1618906"/>
                  <a:pt x="326661" y="1623628"/>
                  <a:pt x="334643" y="1623628"/>
                </a:cubicBezTo>
                <a:cubicBezTo>
                  <a:pt x="345618" y="1623628"/>
                  <a:pt x="354550" y="1614720"/>
                  <a:pt x="354550" y="1603776"/>
                </a:cubicBezTo>
                <a:lnTo>
                  <a:pt x="354550" y="1586150"/>
                </a:lnTo>
                <a:cubicBezTo>
                  <a:pt x="354550" y="1575205"/>
                  <a:pt x="345618" y="1566298"/>
                  <a:pt x="334643" y="1566298"/>
                </a:cubicBezTo>
                <a:close/>
                <a:moveTo>
                  <a:pt x="303238" y="1566282"/>
                </a:moveTo>
                <a:cubicBezTo>
                  <a:pt x="302003" y="1566282"/>
                  <a:pt x="301005" y="1567277"/>
                  <a:pt x="301005" y="1568525"/>
                </a:cubicBezTo>
                <a:lnTo>
                  <a:pt x="301005" y="1603760"/>
                </a:lnTo>
                <a:cubicBezTo>
                  <a:pt x="301005" y="1604992"/>
                  <a:pt x="302003" y="1606002"/>
                  <a:pt x="303238" y="1606002"/>
                </a:cubicBezTo>
                <a:cubicBezTo>
                  <a:pt x="304489" y="1606002"/>
                  <a:pt x="305487" y="1604992"/>
                  <a:pt x="305487" y="1603760"/>
                </a:cubicBezTo>
                <a:lnTo>
                  <a:pt x="305487" y="1568525"/>
                </a:lnTo>
                <a:cubicBezTo>
                  <a:pt x="305487" y="1567277"/>
                  <a:pt x="304473" y="1566282"/>
                  <a:pt x="303238" y="1566282"/>
                </a:cubicBezTo>
                <a:close/>
                <a:moveTo>
                  <a:pt x="776164" y="1566266"/>
                </a:moveTo>
                <a:cubicBezTo>
                  <a:pt x="771888" y="1566266"/>
                  <a:pt x="768008" y="1568019"/>
                  <a:pt x="765205" y="1570830"/>
                </a:cubicBezTo>
                <a:lnTo>
                  <a:pt x="765205" y="1568556"/>
                </a:lnTo>
                <a:cubicBezTo>
                  <a:pt x="765205" y="1567308"/>
                  <a:pt x="764207" y="1566313"/>
                  <a:pt x="762956" y="1566313"/>
                </a:cubicBezTo>
                <a:lnTo>
                  <a:pt x="760707" y="1566313"/>
                </a:lnTo>
                <a:lnTo>
                  <a:pt x="760707" y="1568556"/>
                </a:lnTo>
                <a:lnTo>
                  <a:pt x="760707" y="1603760"/>
                </a:lnTo>
                <a:cubicBezTo>
                  <a:pt x="760707" y="1604991"/>
                  <a:pt x="761721" y="1606002"/>
                  <a:pt x="762956" y="1606002"/>
                </a:cubicBezTo>
                <a:cubicBezTo>
                  <a:pt x="764191" y="1606002"/>
                  <a:pt x="765205" y="1604991"/>
                  <a:pt x="765205" y="1603760"/>
                </a:cubicBezTo>
                <a:lnTo>
                  <a:pt x="765205" y="1581696"/>
                </a:lnTo>
                <a:cubicBezTo>
                  <a:pt x="765205" y="1575663"/>
                  <a:pt x="770114" y="1570767"/>
                  <a:pt x="776164" y="1570767"/>
                </a:cubicBezTo>
                <a:cubicBezTo>
                  <a:pt x="782214" y="1570767"/>
                  <a:pt x="787123" y="1575679"/>
                  <a:pt x="787123" y="1581696"/>
                </a:cubicBezTo>
                <a:lnTo>
                  <a:pt x="787123" y="1603760"/>
                </a:lnTo>
                <a:cubicBezTo>
                  <a:pt x="787123" y="1604991"/>
                  <a:pt x="788137" y="1606002"/>
                  <a:pt x="789372" y="1606002"/>
                </a:cubicBezTo>
                <a:cubicBezTo>
                  <a:pt x="790607" y="1606002"/>
                  <a:pt x="791621" y="1604991"/>
                  <a:pt x="791621" y="1603760"/>
                </a:cubicBezTo>
                <a:lnTo>
                  <a:pt x="791621" y="1581696"/>
                </a:lnTo>
                <a:cubicBezTo>
                  <a:pt x="791621" y="1575663"/>
                  <a:pt x="796546" y="1570767"/>
                  <a:pt x="802580" y="1570767"/>
                </a:cubicBezTo>
                <a:cubicBezTo>
                  <a:pt x="808614" y="1570767"/>
                  <a:pt x="813539" y="1575679"/>
                  <a:pt x="813539" y="1581696"/>
                </a:cubicBezTo>
                <a:lnTo>
                  <a:pt x="813539" y="1603760"/>
                </a:lnTo>
                <a:cubicBezTo>
                  <a:pt x="813539" y="1604991"/>
                  <a:pt x="814553" y="1606002"/>
                  <a:pt x="815788" y="1606002"/>
                </a:cubicBezTo>
                <a:cubicBezTo>
                  <a:pt x="817024" y="1606002"/>
                  <a:pt x="818037" y="1604991"/>
                  <a:pt x="818037" y="1603760"/>
                </a:cubicBezTo>
                <a:lnTo>
                  <a:pt x="818037" y="1581696"/>
                </a:lnTo>
                <a:cubicBezTo>
                  <a:pt x="818037" y="1577448"/>
                  <a:pt x="816303" y="1573590"/>
                  <a:pt x="813504" y="1570795"/>
                </a:cubicBezTo>
                <a:lnTo>
                  <a:pt x="802589" y="1566270"/>
                </a:lnTo>
                <a:lnTo>
                  <a:pt x="802596" y="1566266"/>
                </a:lnTo>
                <a:lnTo>
                  <a:pt x="802580" y="1566266"/>
                </a:lnTo>
                <a:lnTo>
                  <a:pt x="802589" y="1566270"/>
                </a:lnTo>
                <a:lnTo>
                  <a:pt x="789388" y="1573720"/>
                </a:lnTo>
                <a:cubicBezTo>
                  <a:pt x="786680" y="1569267"/>
                  <a:pt x="781770" y="1566266"/>
                  <a:pt x="776164" y="1566266"/>
                </a:cubicBezTo>
                <a:close/>
                <a:moveTo>
                  <a:pt x="646839" y="1566266"/>
                </a:moveTo>
                <a:cubicBezTo>
                  <a:pt x="642547" y="1566266"/>
                  <a:pt x="638683" y="1568019"/>
                  <a:pt x="635880" y="1570830"/>
                </a:cubicBezTo>
                <a:lnTo>
                  <a:pt x="635880" y="1568556"/>
                </a:lnTo>
                <a:cubicBezTo>
                  <a:pt x="635880" y="1567308"/>
                  <a:pt x="634866" y="1566313"/>
                  <a:pt x="633631" y="1566313"/>
                </a:cubicBezTo>
                <a:lnTo>
                  <a:pt x="631382" y="1566313"/>
                </a:lnTo>
                <a:lnTo>
                  <a:pt x="631382" y="1568556"/>
                </a:lnTo>
                <a:lnTo>
                  <a:pt x="631382" y="1603760"/>
                </a:lnTo>
                <a:cubicBezTo>
                  <a:pt x="631382" y="1604991"/>
                  <a:pt x="632396" y="1606002"/>
                  <a:pt x="633631" y="1606002"/>
                </a:cubicBezTo>
                <a:cubicBezTo>
                  <a:pt x="634866" y="1606002"/>
                  <a:pt x="635880" y="1604991"/>
                  <a:pt x="635880" y="1603760"/>
                </a:cubicBezTo>
                <a:lnTo>
                  <a:pt x="635880" y="1581696"/>
                </a:lnTo>
                <a:cubicBezTo>
                  <a:pt x="635880" y="1575663"/>
                  <a:pt x="640789" y="1570767"/>
                  <a:pt x="646839" y="1570767"/>
                </a:cubicBezTo>
                <a:cubicBezTo>
                  <a:pt x="652889" y="1570767"/>
                  <a:pt x="657798" y="1575679"/>
                  <a:pt x="657798" y="1581696"/>
                </a:cubicBezTo>
                <a:lnTo>
                  <a:pt x="657798" y="1603760"/>
                </a:lnTo>
                <a:cubicBezTo>
                  <a:pt x="657798" y="1604991"/>
                  <a:pt x="658812" y="1606002"/>
                  <a:pt x="660047" y="1606002"/>
                </a:cubicBezTo>
                <a:cubicBezTo>
                  <a:pt x="661282" y="1606002"/>
                  <a:pt x="662296" y="1604991"/>
                  <a:pt x="662296" y="1603760"/>
                </a:cubicBezTo>
                <a:lnTo>
                  <a:pt x="662296" y="1581696"/>
                </a:lnTo>
                <a:cubicBezTo>
                  <a:pt x="662296" y="1575663"/>
                  <a:pt x="667205" y="1570767"/>
                  <a:pt x="673255" y="1570767"/>
                </a:cubicBezTo>
                <a:cubicBezTo>
                  <a:pt x="679305" y="1570767"/>
                  <a:pt x="684214" y="1575679"/>
                  <a:pt x="684214" y="1581696"/>
                </a:cubicBezTo>
                <a:lnTo>
                  <a:pt x="684214" y="1603760"/>
                </a:lnTo>
                <a:cubicBezTo>
                  <a:pt x="684214" y="1604991"/>
                  <a:pt x="685228" y="1606002"/>
                  <a:pt x="686479" y="1606002"/>
                </a:cubicBezTo>
                <a:cubicBezTo>
                  <a:pt x="687730" y="1606002"/>
                  <a:pt x="688712" y="1604991"/>
                  <a:pt x="688712" y="1603760"/>
                </a:cubicBezTo>
                <a:lnTo>
                  <a:pt x="688712" y="1581696"/>
                </a:lnTo>
                <a:cubicBezTo>
                  <a:pt x="688712" y="1573199"/>
                  <a:pt x="681776" y="1566266"/>
                  <a:pt x="673255" y="1566266"/>
                </a:cubicBezTo>
                <a:cubicBezTo>
                  <a:pt x="667665" y="1566266"/>
                  <a:pt x="662771" y="1569267"/>
                  <a:pt x="660047" y="1573720"/>
                </a:cubicBezTo>
                <a:cubicBezTo>
                  <a:pt x="657339" y="1569267"/>
                  <a:pt x="652429" y="1566266"/>
                  <a:pt x="646839" y="1566266"/>
                </a:cubicBezTo>
                <a:close/>
                <a:moveTo>
                  <a:pt x="917573" y="1554247"/>
                </a:moveTo>
                <a:lnTo>
                  <a:pt x="917573" y="1556490"/>
                </a:lnTo>
                <a:cubicBezTo>
                  <a:pt x="917573" y="1557722"/>
                  <a:pt x="918587" y="1558732"/>
                  <a:pt x="919822" y="1558732"/>
                </a:cubicBezTo>
                <a:cubicBezTo>
                  <a:pt x="921057" y="1558732"/>
                  <a:pt x="922055" y="1557722"/>
                  <a:pt x="922055" y="1556490"/>
                </a:cubicBezTo>
                <a:cubicBezTo>
                  <a:pt x="922055" y="1555258"/>
                  <a:pt x="921057" y="1554247"/>
                  <a:pt x="919822" y="1554247"/>
                </a:cubicBezTo>
                <a:close/>
                <a:moveTo>
                  <a:pt x="531244" y="1554247"/>
                </a:moveTo>
                <a:lnTo>
                  <a:pt x="531244" y="1556490"/>
                </a:lnTo>
                <a:cubicBezTo>
                  <a:pt x="531244" y="1557722"/>
                  <a:pt x="532258" y="1558732"/>
                  <a:pt x="533493" y="1558732"/>
                </a:cubicBezTo>
                <a:cubicBezTo>
                  <a:pt x="534728" y="1558732"/>
                  <a:pt x="535742" y="1557722"/>
                  <a:pt x="535742" y="1556490"/>
                </a:cubicBezTo>
                <a:cubicBezTo>
                  <a:pt x="535742" y="1555258"/>
                  <a:pt x="534728" y="1554247"/>
                  <a:pt x="533493" y="1554247"/>
                </a:cubicBezTo>
                <a:close/>
                <a:moveTo>
                  <a:pt x="363498" y="1554247"/>
                </a:moveTo>
                <a:lnTo>
                  <a:pt x="363498" y="1556490"/>
                </a:lnTo>
                <a:cubicBezTo>
                  <a:pt x="363498" y="1557722"/>
                  <a:pt x="364512" y="1558732"/>
                  <a:pt x="365747" y="1558732"/>
                </a:cubicBezTo>
                <a:cubicBezTo>
                  <a:pt x="366982" y="1558732"/>
                  <a:pt x="367996" y="1557722"/>
                  <a:pt x="367996" y="1556490"/>
                </a:cubicBezTo>
                <a:cubicBezTo>
                  <a:pt x="367996" y="1555258"/>
                  <a:pt x="366998" y="1554247"/>
                  <a:pt x="365747" y="1554247"/>
                </a:cubicBezTo>
                <a:close/>
                <a:moveTo>
                  <a:pt x="300989" y="1554247"/>
                </a:moveTo>
                <a:lnTo>
                  <a:pt x="300989" y="1556490"/>
                </a:lnTo>
                <a:cubicBezTo>
                  <a:pt x="300989" y="1557722"/>
                  <a:pt x="302003" y="1558732"/>
                  <a:pt x="303238" y="1558732"/>
                </a:cubicBezTo>
                <a:cubicBezTo>
                  <a:pt x="304473" y="1558732"/>
                  <a:pt x="305471" y="1557722"/>
                  <a:pt x="305471" y="1556490"/>
                </a:cubicBezTo>
                <a:cubicBezTo>
                  <a:pt x="305471" y="1555258"/>
                  <a:pt x="304473" y="1554247"/>
                  <a:pt x="303238" y="1554247"/>
                </a:cubicBezTo>
                <a:close/>
                <a:moveTo>
                  <a:pt x="906471" y="1549493"/>
                </a:moveTo>
                <a:cubicBezTo>
                  <a:pt x="905236" y="1549493"/>
                  <a:pt x="904222" y="1550488"/>
                  <a:pt x="904222" y="1551736"/>
                </a:cubicBezTo>
                <a:lnTo>
                  <a:pt x="904222" y="1573594"/>
                </a:lnTo>
                <a:cubicBezTo>
                  <a:pt x="900564" y="1569140"/>
                  <a:pt x="895005" y="1566297"/>
                  <a:pt x="888797" y="1566297"/>
                </a:cubicBezTo>
                <a:cubicBezTo>
                  <a:pt x="877822" y="1566297"/>
                  <a:pt x="868890" y="1575205"/>
                  <a:pt x="868890" y="1586150"/>
                </a:cubicBezTo>
                <a:cubicBezTo>
                  <a:pt x="868890" y="1597094"/>
                  <a:pt x="877822" y="1606002"/>
                  <a:pt x="888797" y="1606002"/>
                </a:cubicBezTo>
                <a:lnTo>
                  <a:pt x="908720" y="1606002"/>
                </a:lnTo>
                <a:lnTo>
                  <a:pt x="908720" y="1551736"/>
                </a:lnTo>
                <a:cubicBezTo>
                  <a:pt x="908720" y="1550488"/>
                  <a:pt x="907707" y="1549493"/>
                  <a:pt x="906471" y="1549493"/>
                </a:cubicBezTo>
                <a:close/>
                <a:moveTo>
                  <a:pt x="451457" y="1549493"/>
                </a:moveTo>
                <a:cubicBezTo>
                  <a:pt x="450222" y="1549493"/>
                  <a:pt x="449208" y="1550488"/>
                  <a:pt x="449208" y="1551736"/>
                </a:cubicBezTo>
                <a:lnTo>
                  <a:pt x="449208" y="1600332"/>
                </a:lnTo>
                <a:cubicBezTo>
                  <a:pt x="449208" y="1603459"/>
                  <a:pt x="451758" y="1606002"/>
                  <a:pt x="454893" y="1606002"/>
                </a:cubicBezTo>
                <a:cubicBezTo>
                  <a:pt x="456145" y="1606002"/>
                  <a:pt x="457142" y="1605007"/>
                  <a:pt x="457142" y="1603759"/>
                </a:cubicBezTo>
                <a:cubicBezTo>
                  <a:pt x="457142" y="1602511"/>
                  <a:pt x="456145" y="1601517"/>
                  <a:pt x="454893" y="1601517"/>
                </a:cubicBezTo>
                <a:cubicBezTo>
                  <a:pt x="454244" y="1601517"/>
                  <a:pt x="453706" y="1600995"/>
                  <a:pt x="453706" y="1600332"/>
                </a:cubicBezTo>
                <a:lnTo>
                  <a:pt x="453706" y="1551736"/>
                </a:lnTo>
                <a:cubicBezTo>
                  <a:pt x="453706" y="1550488"/>
                  <a:pt x="452692" y="1549493"/>
                  <a:pt x="451457" y="1549493"/>
                </a:cubicBezTo>
                <a:close/>
                <a:moveTo>
                  <a:pt x="385385" y="1549478"/>
                </a:moveTo>
                <a:cubicBezTo>
                  <a:pt x="384150" y="1549478"/>
                  <a:pt x="383136" y="1550473"/>
                  <a:pt x="383136" y="1551721"/>
                </a:cubicBezTo>
                <a:lnTo>
                  <a:pt x="383136" y="1566282"/>
                </a:lnTo>
                <a:lnTo>
                  <a:pt x="379367" y="1566282"/>
                </a:lnTo>
                <a:cubicBezTo>
                  <a:pt x="378132" y="1566282"/>
                  <a:pt x="377118" y="1567277"/>
                  <a:pt x="377118" y="1568525"/>
                </a:cubicBezTo>
                <a:cubicBezTo>
                  <a:pt x="377118" y="1569773"/>
                  <a:pt x="378132" y="1570768"/>
                  <a:pt x="379367" y="1570768"/>
                </a:cubicBezTo>
                <a:lnTo>
                  <a:pt x="383136" y="1570768"/>
                </a:lnTo>
                <a:lnTo>
                  <a:pt x="383136" y="1594079"/>
                </a:lnTo>
                <a:cubicBezTo>
                  <a:pt x="383136" y="1600649"/>
                  <a:pt x="388489" y="1605987"/>
                  <a:pt x="395077" y="1605987"/>
                </a:cubicBezTo>
                <a:cubicBezTo>
                  <a:pt x="395980" y="1605987"/>
                  <a:pt x="396867" y="1605892"/>
                  <a:pt x="397738" y="1605687"/>
                </a:cubicBezTo>
                <a:lnTo>
                  <a:pt x="399425" y="1603014"/>
                </a:lnTo>
                <a:lnTo>
                  <a:pt x="399432" y="1603018"/>
                </a:lnTo>
                <a:lnTo>
                  <a:pt x="399432" y="1603002"/>
                </a:lnTo>
                <a:lnTo>
                  <a:pt x="399425" y="1603014"/>
                </a:lnTo>
                <a:lnTo>
                  <a:pt x="396740" y="1601328"/>
                </a:lnTo>
                <a:cubicBezTo>
                  <a:pt x="396202" y="1601454"/>
                  <a:pt x="395647" y="1601517"/>
                  <a:pt x="395077" y="1601517"/>
                </a:cubicBezTo>
                <a:cubicBezTo>
                  <a:pt x="390975" y="1601517"/>
                  <a:pt x="387634" y="1598185"/>
                  <a:pt x="387634" y="1594079"/>
                </a:cubicBezTo>
                <a:lnTo>
                  <a:pt x="387634" y="1570768"/>
                </a:lnTo>
                <a:lnTo>
                  <a:pt x="393969" y="1570768"/>
                </a:lnTo>
                <a:cubicBezTo>
                  <a:pt x="395220" y="1570768"/>
                  <a:pt x="396217" y="1569757"/>
                  <a:pt x="396217" y="1568525"/>
                </a:cubicBezTo>
                <a:cubicBezTo>
                  <a:pt x="396217" y="1567293"/>
                  <a:pt x="395220" y="1566282"/>
                  <a:pt x="393969" y="1566282"/>
                </a:cubicBezTo>
                <a:lnTo>
                  <a:pt x="387634" y="1566282"/>
                </a:lnTo>
                <a:lnTo>
                  <a:pt x="387634" y="1551721"/>
                </a:lnTo>
                <a:cubicBezTo>
                  <a:pt x="387634" y="1550473"/>
                  <a:pt x="386620" y="1549478"/>
                  <a:pt x="385385" y="1549478"/>
                </a:cubicBezTo>
                <a:close/>
                <a:moveTo>
                  <a:pt x="289935" y="1549478"/>
                </a:moveTo>
                <a:cubicBezTo>
                  <a:pt x="288700" y="1549478"/>
                  <a:pt x="287687" y="1550473"/>
                  <a:pt x="287687" y="1551721"/>
                </a:cubicBezTo>
                <a:lnTo>
                  <a:pt x="287687" y="1573579"/>
                </a:lnTo>
                <a:cubicBezTo>
                  <a:pt x="284044" y="1569125"/>
                  <a:pt x="278485" y="1566282"/>
                  <a:pt x="272277" y="1566282"/>
                </a:cubicBezTo>
                <a:cubicBezTo>
                  <a:pt x="261302" y="1566282"/>
                  <a:pt x="252370" y="1575174"/>
                  <a:pt x="252370" y="1586135"/>
                </a:cubicBezTo>
                <a:cubicBezTo>
                  <a:pt x="252370" y="1597095"/>
                  <a:pt x="261302" y="1606003"/>
                  <a:pt x="272277" y="1606003"/>
                </a:cubicBezTo>
                <a:lnTo>
                  <a:pt x="292184" y="1606003"/>
                </a:lnTo>
                <a:lnTo>
                  <a:pt x="292184" y="1605987"/>
                </a:lnTo>
                <a:lnTo>
                  <a:pt x="292184" y="1551721"/>
                </a:lnTo>
                <a:cubicBezTo>
                  <a:pt x="292184" y="1550473"/>
                  <a:pt x="291171" y="1549478"/>
                  <a:pt x="289935" y="1549478"/>
                </a:cubicBezTo>
                <a:close/>
                <a:moveTo>
                  <a:pt x="527547" y="1444586"/>
                </a:moveTo>
                <a:lnTo>
                  <a:pt x="527555" y="1444626"/>
                </a:lnTo>
                <a:lnTo>
                  <a:pt x="527547" y="1444666"/>
                </a:lnTo>
                <a:lnTo>
                  <a:pt x="527539" y="1444626"/>
                </a:lnTo>
                <a:close/>
                <a:moveTo>
                  <a:pt x="252370" y="1374724"/>
                </a:moveTo>
                <a:lnTo>
                  <a:pt x="252370" y="1444626"/>
                </a:lnTo>
                <a:cubicBezTo>
                  <a:pt x="252370" y="1483241"/>
                  <a:pt x="283173" y="1514543"/>
                  <a:pt x="321166" y="1514543"/>
                </a:cubicBezTo>
                <a:cubicBezTo>
                  <a:pt x="359159" y="1514543"/>
                  <a:pt x="389962" y="1483256"/>
                  <a:pt x="389962" y="1444626"/>
                </a:cubicBezTo>
                <a:cubicBezTo>
                  <a:pt x="389962" y="1483241"/>
                  <a:pt x="420765" y="1514543"/>
                  <a:pt x="458758" y="1514543"/>
                </a:cubicBezTo>
                <a:cubicBezTo>
                  <a:pt x="487253" y="1514543"/>
                  <a:pt x="511704" y="1496944"/>
                  <a:pt x="522148" y="1471848"/>
                </a:cubicBezTo>
                <a:lnTo>
                  <a:pt x="527547" y="1444666"/>
                </a:lnTo>
                <a:lnTo>
                  <a:pt x="532944" y="1471841"/>
                </a:lnTo>
                <a:cubicBezTo>
                  <a:pt x="543384" y="1496936"/>
                  <a:pt x="567828" y="1514543"/>
                  <a:pt x="596335" y="1514543"/>
                </a:cubicBezTo>
                <a:cubicBezTo>
                  <a:pt x="608878" y="1514543"/>
                  <a:pt x="620629" y="1511132"/>
                  <a:pt x="630733" y="1505178"/>
                </a:cubicBezTo>
                <a:cubicBezTo>
                  <a:pt x="640869" y="1511132"/>
                  <a:pt x="652604" y="1514543"/>
                  <a:pt x="665131" y="1514543"/>
                </a:cubicBezTo>
                <a:cubicBezTo>
                  <a:pt x="703124" y="1514543"/>
                  <a:pt x="733927" y="1483256"/>
                  <a:pt x="733927" y="1444626"/>
                </a:cubicBezTo>
                <a:cubicBezTo>
                  <a:pt x="733927" y="1405995"/>
                  <a:pt x="703140" y="1374724"/>
                  <a:pt x="665147" y="1374724"/>
                </a:cubicBezTo>
                <a:cubicBezTo>
                  <a:pt x="652620" y="1374724"/>
                  <a:pt x="640884" y="1378120"/>
                  <a:pt x="630749" y="1384074"/>
                </a:cubicBezTo>
                <a:lnTo>
                  <a:pt x="630733" y="1384074"/>
                </a:lnTo>
                <a:cubicBezTo>
                  <a:pt x="620629" y="1378135"/>
                  <a:pt x="608878" y="1374724"/>
                  <a:pt x="596335" y="1374724"/>
                </a:cubicBezTo>
                <a:cubicBezTo>
                  <a:pt x="567828" y="1374724"/>
                  <a:pt x="543384" y="1392323"/>
                  <a:pt x="532944" y="1417413"/>
                </a:cubicBezTo>
                <a:lnTo>
                  <a:pt x="527547" y="1444586"/>
                </a:lnTo>
                <a:lnTo>
                  <a:pt x="522146" y="1417406"/>
                </a:lnTo>
                <a:cubicBezTo>
                  <a:pt x="511698" y="1392314"/>
                  <a:pt x="487242" y="1374724"/>
                  <a:pt x="458758" y="1374724"/>
                </a:cubicBezTo>
                <a:cubicBezTo>
                  <a:pt x="420781" y="1374724"/>
                  <a:pt x="389962" y="1406011"/>
                  <a:pt x="389962" y="1444626"/>
                </a:cubicBezTo>
                <a:cubicBezTo>
                  <a:pt x="389962" y="1405995"/>
                  <a:pt x="359159" y="1374724"/>
                  <a:pt x="321166" y="1374724"/>
                </a:cubicBezTo>
                <a:close/>
                <a:moveTo>
                  <a:pt x="0" y="0"/>
                </a:moveTo>
                <a:lnTo>
                  <a:pt x="2405174" y="0"/>
                </a:lnTo>
                <a:lnTo>
                  <a:pt x="2405174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81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-ANIMAT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09BB2B-A320-DECF-A8AA-DFA4734EA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279D79C-758D-15F2-9F00-8FFE5EBFF7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2879" y="-11156"/>
            <a:ext cx="4319057" cy="5154656"/>
          </a:xfrm>
          <a:custGeom>
            <a:avLst/>
            <a:gdLst>
              <a:gd name="connsiteX0" fmla="*/ 2878 w 4309709"/>
              <a:gd name="connsiteY0" fmla="*/ 0 h 5143500"/>
              <a:gd name="connsiteX1" fmla="*/ 3566742 w 4309709"/>
              <a:gd name="connsiteY1" fmla="*/ 0 h 5143500"/>
              <a:gd name="connsiteX2" fmla="*/ 3612380 w 4309709"/>
              <a:gd name="connsiteY2" fmla="*/ 66117 h 5143500"/>
              <a:gd name="connsiteX3" fmla="*/ 4309709 w 4309709"/>
              <a:gd name="connsiteY3" fmla="*/ 2417974 h 5143500"/>
              <a:gd name="connsiteX4" fmla="*/ 3377328 w 4309709"/>
              <a:gd name="connsiteY4" fmla="*/ 5093657 h 5143500"/>
              <a:gd name="connsiteX5" fmla="*/ 3333356 w 4309709"/>
              <a:gd name="connsiteY5" fmla="*/ 5143500 h 5143500"/>
              <a:gd name="connsiteX6" fmla="*/ 0 w 4309709"/>
              <a:gd name="connsiteY6" fmla="*/ 5143500 h 5143500"/>
              <a:gd name="connsiteX7" fmla="*/ 0 w 4309709"/>
              <a:gd name="connsiteY7" fmla="*/ 5142961 h 5143500"/>
              <a:gd name="connsiteX8" fmla="*/ 2878 w 4309709"/>
              <a:gd name="connsiteY8" fmla="*/ 51429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09709" h="5143500">
                <a:moveTo>
                  <a:pt x="2878" y="0"/>
                </a:moveTo>
                <a:lnTo>
                  <a:pt x="3566742" y="0"/>
                </a:lnTo>
                <a:lnTo>
                  <a:pt x="3612380" y="66117"/>
                </a:lnTo>
                <a:cubicBezTo>
                  <a:pt x="4052637" y="737468"/>
                  <a:pt x="4309709" y="1546793"/>
                  <a:pt x="4309709" y="2417974"/>
                </a:cubicBezTo>
                <a:cubicBezTo>
                  <a:pt x="4309709" y="3434352"/>
                  <a:pt x="3959806" y="4366537"/>
                  <a:pt x="3377328" y="5093657"/>
                </a:cubicBezTo>
                <a:lnTo>
                  <a:pt x="3333356" y="5143500"/>
                </a:lnTo>
                <a:lnTo>
                  <a:pt x="0" y="5143500"/>
                </a:lnTo>
                <a:lnTo>
                  <a:pt x="0" y="5142961"/>
                </a:lnTo>
                <a:lnTo>
                  <a:pt x="2878" y="514296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10693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8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604576"/>
            <a:ext cx="2412957" cy="4413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5C096D1-678C-0C9E-E065-DEA527FCB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37126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73B1FB2F-B274-50BB-2135-3533FB7528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8000" y="0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665E0DDD-2F26-ED21-3D3F-1A95CC230F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9A18B591-11A2-FD26-E8CB-4EBAEDA6CF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58000" y="1699208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CA0698BC-77C9-69F9-0E56-54FCDBDCCD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C41E8D0-8329-3678-A183-AE59F7B115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58000" y="3410442"/>
            <a:ext cx="2286000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B337B950-EE90-8A25-B14B-74F8316EE2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72000" y="3410442"/>
            <a:ext cx="2286000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666E5D02-C0DC-EF14-0950-64A2F8676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72936" y="0"/>
            <a:ext cx="2299063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010922B7-6CCB-9A2E-679B-8AE69560EB7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3063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3D7EB56-7BCB-3A44-489C-887538D9B7F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272936" y="1699208"/>
            <a:ext cx="2299063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0C9F5E4B-89CD-F267-D9FE-43DF515A78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3063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0BCFE13A-0F8D-FCDC-EF5B-000C3F4829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72936" y="3410442"/>
            <a:ext cx="2299063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8D2036F-26E5-E40A-4A25-02B97160A9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13063" y="3410442"/>
            <a:ext cx="2286000" cy="1741714"/>
          </a:xfrm>
          <a:custGeom>
            <a:avLst/>
            <a:gdLst>
              <a:gd name="connsiteX0" fmla="*/ 970038 w 2286000"/>
              <a:gd name="connsiteY0" fmla="*/ 1570768 h 1741714"/>
              <a:gd name="connsiteX1" fmla="*/ 985463 w 2286000"/>
              <a:gd name="connsiteY1" fmla="*/ 1586135 h 1741714"/>
              <a:gd name="connsiteX2" fmla="*/ 985463 w 2286000"/>
              <a:gd name="connsiteY2" fmla="*/ 1601517 h 1741714"/>
              <a:gd name="connsiteX3" fmla="*/ 970038 w 2286000"/>
              <a:gd name="connsiteY3" fmla="*/ 1601517 h 1741714"/>
              <a:gd name="connsiteX4" fmla="*/ 954629 w 2286000"/>
              <a:gd name="connsiteY4" fmla="*/ 1586135 h 1741714"/>
              <a:gd name="connsiteX5" fmla="*/ 970038 w 2286000"/>
              <a:gd name="connsiteY5" fmla="*/ 1570768 h 1741714"/>
              <a:gd name="connsiteX6" fmla="*/ 862140 w 2286000"/>
              <a:gd name="connsiteY6" fmla="*/ 1570768 h 1741714"/>
              <a:gd name="connsiteX7" fmla="*/ 877391 w 2286000"/>
              <a:gd name="connsiteY7" fmla="*/ 1583892 h 1741714"/>
              <a:gd name="connsiteX8" fmla="*/ 846889 w 2286000"/>
              <a:gd name="connsiteY8" fmla="*/ 1583892 h 1741714"/>
              <a:gd name="connsiteX9" fmla="*/ 862140 w 2286000"/>
              <a:gd name="connsiteY9" fmla="*/ 1570768 h 1741714"/>
              <a:gd name="connsiteX10" fmla="*/ 733559 w 2286000"/>
              <a:gd name="connsiteY10" fmla="*/ 1570768 h 1741714"/>
              <a:gd name="connsiteX11" fmla="*/ 748985 w 2286000"/>
              <a:gd name="connsiteY11" fmla="*/ 1586135 h 1741714"/>
              <a:gd name="connsiteX12" fmla="*/ 748985 w 2286000"/>
              <a:gd name="connsiteY12" fmla="*/ 1601517 h 1741714"/>
              <a:gd name="connsiteX13" fmla="*/ 733559 w 2286000"/>
              <a:gd name="connsiteY13" fmla="*/ 1601517 h 1741714"/>
              <a:gd name="connsiteX14" fmla="*/ 718150 w 2286000"/>
              <a:gd name="connsiteY14" fmla="*/ 1586135 h 1741714"/>
              <a:gd name="connsiteX15" fmla="*/ 733559 w 2286000"/>
              <a:gd name="connsiteY15" fmla="*/ 1570768 h 1741714"/>
              <a:gd name="connsiteX16" fmla="*/ 625709 w 2286000"/>
              <a:gd name="connsiteY16" fmla="*/ 1570768 h 1741714"/>
              <a:gd name="connsiteX17" fmla="*/ 640960 w 2286000"/>
              <a:gd name="connsiteY17" fmla="*/ 1583892 h 1741714"/>
              <a:gd name="connsiteX18" fmla="*/ 610458 w 2286000"/>
              <a:gd name="connsiteY18" fmla="*/ 1583892 h 1741714"/>
              <a:gd name="connsiteX19" fmla="*/ 625709 w 2286000"/>
              <a:gd name="connsiteY19" fmla="*/ 1570768 h 1741714"/>
              <a:gd name="connsiteX20" fmla="*/ 442695 w 2286000"/>
              <a:gd name="connsiteY20" fmla="*/ 1570768 h 1741714"/>
              <a:gd name="connsiteX21" fmla="*/ 458105 w 2286000"/>
              <a:gd name="connsiteY21" fmla="*/ 1586135 h 1741714"/>
              <a:gd name="connsiteX22" fmla="*/ 458105 w 2286000"/>
              <a:gd name="connsiteY22" fmla="*/ 1601517 h 1741714"/>
              <a:gd name="connsiteX23" fmla="*/ 442695 w 2286000"/>
              <a:gd name="connsiteY23" fmla="*/ 1601517 h 1741714"/>
              <a:gd name="connsiteX24" fmla="*/ 427286 w 2286000"/>
              <a:gd name="connsiteY24" fmla="*/ 1586135 h 1741714"/>
              <a:gd name="connsiteX25" fmla="*/ 442695 w 2286000"/>
              <a:gd name="connsiteY25" fmla="*/ 1570768 h 1741714"/>
              <a:gd name="connsiteX26" fmla="*/ 291579 w 2286000"/>
              <a:gd name="connsiteY26" fmla="*/ 1570768 h 1741714"/>
              <a:gd name="connsiteX27" fmla="*/ 306989 w 2286000"/>
              <a:gd name="connsiteY27" fmla="*/ 1586135 h 1741714"/>
              <a:gd name="connsiteX28" fmla="*/ 306989 w 2286000"/>
              <a:gd name="connsiteY28" fmla="*/ 1601517 h 1741714"/>
              <a:gd name="connsiteX29" fmla="*/ 291579 w 2286000"/>
              <a:gd name="connsiteY29" fmla="*/ 1601517 h 1741714"/>
              <a:gd name="connsiteX30" fmla="*/ 276170 w 2286000"/>
              <a:gd name="connsiteY30" fmla="*/ 1586135 h 1741714"/>
              <a:gd name="connsiteX31" fmla="*/ 291579 w 2286000"/>
              <a:gd name="connsiteY31" fmla="*/ 1570768 h 1741714"/>
              <a:gd name="connsiteX32" fmla="*/ 908115 w 2286000"/>
              <a:gd name="connsiteY32" fmla="*/ 1570767 h 1741714"/>
              <a:gd name="connsiteX33" fmla="*/ 923540 w 2286000"/>
              <a:gd name="connsiteY33" fmla="*/ 1586134 h 1741714"/>
              <a:gd name="connsiteX34" fmla="*/ 923540 w 2286000"/>
              <a:gd name="connsiteY34" fmla="*/ 1601517 h 1741714"/>
              <a:gd name="connsiteX35" fmla="*/ 908115 w 2286000"/>
              <a:gd name="connsiteY35" fmla="*/ 1601517 h 1741714"/>
              <a:gd name="connsiteX36" fmla="*/ 892706 w 2286000"/>
              <a:gd name="connsiteY36" fmla="*/ 1586134 h 1741714"/>
              <a:gd name="connsiteX37" fmla="*/ 908115 w 2286000"/>
              <a:gd name="connsiteY37" fmla="*/ 1570767 h 1741714"/>
              <a:gd name="connsiteX38" fmla="*/ 353945 w 2286000"/>
              <a:gd name="connsiteY38" fmla="*/ 1570767 h 1741714"/>
              <a:gd name="connsiteX39" fmla="*/ 369355 w 2286000"/>
              <a:gd name="connsiteY39" fmla="*/ 1586134 h 1741714"/>
              <a:gd name="connsiteX40" fmla="*/ 353945 w 2286000"/>
              <a:gd name="connsiteY40" fmla="*/ 1601517 h 1741714"/>
              <a:gd name="connsiteX41" fmla="*/ 338536 w 2286000"/>
              <a:gd name="connsiteY41" fmla="*/ 1586134 h 1741714"/>
              <a:gd name="connsiteX42" fmla="*/ 353945 w 2286000"/>
              <a:gd name="connsiteY42" fmla="*/ 1570767 h 1741714"/>
              <a:gd name="connsiteX43" fmla="*/ 563168 w 2286000"/>
              <a:gd name="connsiteY43" fmla="*/ 1566313 h 1741714"/>
              <a:gd name="connsiteX44" fmla="*/ 563168 w 2286000"/>
              <a:gd name="connsiteY44" fmla="*/ 1603759 h 1741714"/>
              <a:gd name="connsiteX45" fmla="*/ 565417 w 2286000"/>
              <a:gd name="connsiteY45" fmla="*/ 1606002 h 1741714"/>
              <a:gd name="connsiteX46" fmla="*/ 567666 w 2286000"/>
              <a:gd name="connsiteY46" fmla="*/ 1603759 h 1741714"/>
              <a:gd name="connsiteX47" fmla="*/ 567666 w 2286000"/>
              <a:gd name="connsiteY47" fmla="*/ 1589593 h 1741714"/>
              <a:gd name="connsiteX48" fmla="*/ 567666 w 2286000"/>
              <a:gd name="connsiteY48" fmla="*/ 1584507 h 1741714"/>
              <a:gd name="connsiteX49" fmla="*/ 581428 w 2286000"/>
              <a:gd name="connsiteY49" fmla="*/ 1570798 h 1741714"/>
              <a:gd name="connsiteX50" fmla="*/ 595191 w 2286000"/>
              <a:gd name="connsiteY50" fmla="*/ 1584523 h 1741714"/>
              <a:gd name="connsiteX51" fmla="*/ 595191 w 2286000"/>
              <a:gd name="connsiteY51" fmla="*/ 1603759 h 1741714"/>
              <a:gd name="connsiteX52" fmla="*/ 597439 w 2286000"/>
              <a:gd name="connsiteY52" fmla="*/ 1606002 h 1741714"/>
              <a:gd name="connsiteX53" fmla="*/ 599688 w 2286000"/>
              <a:gd name="connsiteY53" fmla="*/ 1603759 h 1741714"/>
              <a:gd name="connsiteX54" fmla="*/ 599688 w 2286000"/>
              <a:gd name="connsiteY54" fmla="*/ 1584523 h 1741714"/>
              <a:gd name="connsiteX55" fmla="*/ 581444 w 2286000"/>
              <a:gd name="connsiteY55" fmla="*/ 1566313 h 1741714"/>
              <a:gd name="connsiteX56" fmla="*/ 581428 w 2286000"/>
              <a:gd name="connsiteY56" fmla="*/ 1566313 h 1741714"/>
              <a:gd name="connsiteX57" fmla="*/ 567666 w 2286000"/>
              <a:gd name="connsiteY57" fmla="*/ 1572567 h 1741714"/>
              <a:gd name="connsiteX58" fmla="*/ 567666 w 2286000"/>
              <a:gd name="connsiteY58" fmla="*/ 1568556 h 1741714"/>
              <a:gd name="connsiteX59" fmla="*/ 565417 w 2286000"/>
              <a:gd name="connsiteY59" fmla="*/ 1566313 h 1741714"/>
              <a:gd name="connsiteX60" fmla="*/ 970038 w 2286000"/>
              <a:gd name="connsiteY60" fmla="*/ 1566298 h 1741714"/>
              <a:gd name="connsiteX61" fmla="*/ 950131 w 2286000"/>
              <a:gd name="connsiteY61" fmla="*/ 1586150 h 1741714"/>
              <a:gd name="connsiteX62" fmla="*/ 970038 w 2286000"/>
              <a:gd name="connsiteY62" fmla="*/ 1606003 h 1741714"/>
              <a:gd name="connsiteX63" fmla="*/ 989945 w 2286000"/>
              <a:gd name="connsiteY63" fmla="*/ 1606003 h 1741714"/>
              <a:gd name="connsiteX64" fmla="*/ 989945 w 2286000"/>
              <a:gd name="connsiteY64" fmla="*/ 1586150 h 1741714"/>
              <a:gd name="connsiteX65" fmla="*/ 970038 w 2286000"/>
              <a:gd name="connsiteY65" fmla="*/ 1566298 h 1741714"/>
              <a:gd name="connsiteX66" fmla="*/ 862140 w 2286000"/>
              <a:gd name="connsiteY66" fmla="*/ 1566298 h 1741714"/>
              <a:gd name="connsiteX67" fmla="*/ 842233 w 2286000"/>
              <a:gd name="connsiteY67" fmla="*/ 1586150 h 1741714"/>
              <a:gd name="connsiteX68" fmla="*/ 862140 w 2286000"/>
              <a:gd name="connsiteY68" fmla="*/ 1606003 h 1741714"/>
              <a:gd name="connsiteX69" fmla="*/ 874335 w 2286000"/>
              <a:gd name="connsiteY69" fmla="*/ 1601849 h 1741714"/>
              <a:gd name="connsiteX70" fmla="*/ 874731 w 2286000"/>
              <a:gd name="connsiteY70" fmla="*/ 1598706 h 1741714"/>
              <a:gd name="connsiteX71" fmla="*/ 871579 w 2286000"/>
              <a:gd name="connsiteY71" fmla="*/ 1598311 h 1741714"/>
              <a:gd name="connsiteX72" fmla="*/ 862140 w 2286000"/>
              <a:gd name="connsiteY72" fmla="*/ 1601533 h 1741714"/>
              <a:gd name="connsiteX73" fmla="*/ 846889 w 2286000"/>
              <a:gd name="connsiteY73" fmla="*/ 1588393 h 1741714"/>
              <a:gd name="connsiteX74" fmla="*/ 879798 w 2286000"/>
              <a:gd name="connsiteY74" fmla="*/ 1588393 h 1741714"/>
              <a:gd name="connsiteX75" fmla="*/ 882047 w 2286000"/>
              <a:gd name="connsiteY75" fmla="*/ 1586150 h 1741714"/>
              <a:gd name="connsiteX76" fmla="*/ 862140 w 2286000"/>
              <a:gd name="connsiteY76" fmla="*/ 1566298 h 1741714"/>
              <a:gd name="connsiteX77" fmla="*/ 733559 w 2286000"/>
              <a:gd name="connsiteY77" fmla="*/ 1566298 h 1741714"/>
              <a:gd name="connsiteX78" fmla="*/ 713652 w 2286000"/>
              <a:gd name="connsiteY78" fmla="*/ 1586150 h 1741714"/>
              <a:gd name="connsiteX79" fmla="*/ 733559 w 2286000"/>
              <a:gd name="connsiteY79" fmla="*/ 1606003 h 1741714"/>
              <a:gd name="connsiteX80" fmla="*/ 753482 w 2286000"/>
              <a:gd name="connsiteY80" fmla="*/ 1606003 h 1741714"/>
              <a:gd name="connsiteX81" fmla="*/ 753482 w 2286000"/>
              <a:gd name="connsiteY81" fmla="*/ 1586150 h 1741714"/>
              <a:gd name="connsiteX82" fmla="*/ 733559 w 2286000"/>
              <a:gd name="connsiteY82" fmla="*/ 1566298 h 1741714"/>
              <a:gd name="connsiteX83" fmla="*/ 625709 w 2286000"/>
              <a:gd name="connsiteY83" fmla="*/ 1566298 h 1741714"/>
              <a:gd name="connsiteX84" fmla="*/ 605802 w 2286000"/>
              <a:gd name="connsiteY84" fmla="*/ 1586150 h 1741714"/>
              <a:gd name="connsiteX85" fmla="*/ 625709 w 2286000"/>
              <a:gd name="connsiteY85" fmla="*/ 1606003 h 1741714"/>
              <a:gd name="connsiteX86" fmla="*/ 637904 w 2286000"/>
              <a:gd name="connsiteY86" fmla="*/ 1601849 h 1741714"/>
              <a:gd name="connsiteX87" fmla="*/ 638300 w 2286000"/>
              <a:gd name="connsiteY87" fmla="*/ 1598706 h 1741714"/>
              <a:gd name="connsiteX88" fmla="*/ 635148 w 2286000"/>
              <a:gd name="connsiteY88" fmla="*/ 1598311 h 1741714"/>
              <a:gd name="connsiteX89" fmla="*/ 625709 w 2286000"/>
              <a:gd name="connsiteY89" fmla="*/ 1601533 h 1741714"/>
              <a:gd name="connsiteX90" fmla="*/ 610458 w 2286000"/>
              <a:gd name="connsiteY90" fmla="*/ 1588393 h 1741714"/>
              <a:gd name="connsiteX91" fmla="*/ 643367 w 2286000"/>
              <a:gd name="connsiteY91" fmla="*/ 1588393 h 1741714"/>
              <a:gd name="connsiteX92" fmla="*/ 645616 w 2286000"/>
              <a:gd name="connsiteY92" fmla="*/ 1586150 h 1741714"/>
              <a:gd name="connsiteX93" fmla="*/ 625709 w 2286000"/>
              <a:gd name="connsiteY93" fmla="*/ 1566298 h 1741714"/>
              <a:gd name="connsiteX94" fmla="*/ 526394 w 2286000"/>
              <a:gd name="connsiteY94" fmla="*/ 1566298 h 1741714"/>
              <a:gd name="connsiteX95" fmla="*/ 506487 w 2286000"/>
              <a:gd name="connsiteY95" fmla="*/ 1586150 h 1741714"/>
              <a:gd name="connsiteX96" fmla="*/ 526394 w 2286000"/>
              <a:gd name="connsiteY96" fmla="*/ 1606003 h 1741714"/>
              <a:gd name="connsiteX97" fmla="*/ 539064 w 2286000"/>
              <a:gd name="connsiteY97" fmla="*/ 1601454 h 1741714"/>
              <a:gd name="connsiteX98" fmla="*/ 539365 w 2286000"/>
              <a:gd name="connsiteY98" fmla="*/ 1598295 h 1741714"/>
              <a:gd name="connsiteX99" fmla="*/ 536197 w 2286000"/>
              <a:gd name="connsiteY99" fmla="*/ 1597995 h 1741714"/>
              <a:gd name="connsiteX100" fmla="*/ 526394 w 2286000"/>
              <a:gd name="connsiteY100" fmla="*/ 1601517 h 1741714"/>
              <a:gd name="connsiteX101" fmla="*/ 510969 w 2286000"/>
              <a:gd name="connsiteY101" fmla="*/ 1586135 h 1741714"/>
              <a:gd name="connsiteX102" fmla="*/ 526394 w 2286000"/>
              <a:gd name="connsiteY102" fmla="*/ 1570768 h 1741714"/>
              <a:gd name="connsiteX103" fmla="*/ 536197 w 2286000"/>
              <a:gd name="connsiteY103" fmla="*/ 1574289 h 1741714"/>
              <a:gd name="connsiteX104" fmla="*/ 539365 w 2286000"/>
              <a:gd name="connsiteY104" fmla="*/ 1573989 h 1741714"/>
              <a:gd name="connsiteX105" fmla="*/ 539064 w 2286000"/>
              <a:gd name="connsiteY105" fmla="*/ 1570831 h 1741714"/>
              <a:gd name="connsiteX106" fmla="*/ 526394 w 2286000"/>
              <a:gd name="connsiteY106" fmla="*/ 1566298 h 1741714"/>
              <a:gd name="connsiteX107" fmla="*/ 442711 w 2286000"/>
              <a:gd name="connsiteY107" fmla="*/ 1566298 h 1741714"/>
              <a:gd name="connsiteX108" fmla="*/ 422804 w 2286000"/>
              <a:gd name="connsiteY108" fmla="*/ 1586150 h 1741714"/>
              <a:gd name="connsiteX109" fmla="*/ 442711 w 2286000"/>
              <a:gd name="connsiteY109" fmla="*/ 1606003 h 1741714"/>
              <a:gd name="connsiteX110" fmla="*/ 462618 w 2286000"/>
              <a:gd name="connsiteY110" fmla="*/ 1606003 h 1741714"/>
              <a:gd name="connsiteX111" fmla="*/ 462618 w 2286000"/>
              <a:gd name="connsiteY111" fmla="*/ 1586150 h 1741714"/>
              <a:gd name="connsiteX112" fmla="*/ 442711 w 2286000"/>
              <a:gd name="connsiteY112" fmla="*/ 1566298 h 1741714"/>
              <a:gd name="connsiteX113" fmla="*/ 939124 w 2286000"/>
              <a:gd name="connsiteY113" fmla="*/ 1566282 h 1741714"/>
              <a:gd name="connsiteX114" fmla="*/ 936875 w 2286000"/>
              <a:gd name="connsiteY114" fmla="*/ 1568525 h 1741714"/>
              <a:gd name="connsiteX115" fmla="*/ 936875 w 2286000"/>
              <a:gd name="connsiteY115" fmla="*/ 1603760 h 1741714"/>
              <a:gd name="connsiteX116" fmla="*/ 939124 w 2286000"/>
              <a:gd name="connsiteY116" fmla="*/ 1606002 h 1741714"/>
              <a:gd name="connsiteX117" fmla="*/ 941357 w 2286000"/>
              <a:gd name="connsiteY117" fmla="*/ 1603760 h 1741714"/>
              <a:gd name="connsiteX118" fmla="*/ 941357 w 2286000"/>
              <a:gd name="connsiteY118" fmla="*/ 1568525 h 1741714"/>
              <a:gd name="connsiteX119" fmla="*/ 939124 w 2286000"/>
              <a:gd name="connsiteY119" fmla="*/ 1566282 h 1741714"/>
              <a:gd name="connsiteX120" fmla="*/ 552795 w 2286000"/>
              <a:gd name="connsiteY120" fmla="*/ 1566282 h 1741714"/>
              <a:gd name="connsiteX121" fmla="*/ 550546 w 2286000"/>
              <a:gd name="connsiteY121" fmla="*/ 1568525 h 1741714"/>
              <a:gd name="connsiteX122" fmla="*/ 550546 w 2286000"/>
              <a:gd name="connsiteY122" fmla="*/ 1603760 h 1741714"/>
              <a:gd name="connsiteX123" fmla="*/ 552795 w 2286000"/>
              <a:gd name="connsiteY123" fmla="*/ 1606002 h 1741714"/>
              <a:gd name="connsiteX124" fmla="*/ 555044 w 2286000"/>
              <a:gd name="connsiteY124" fmla="*/ 1603760 h 1741714"/>
              <a:gd name="connsiteX125" fmla="*/ 555044 w 2286000"/>
              <a:gd name="connsiteY125" fmla="*/ 1568525 h 1741714"/>
              <a:gd name="connsiteX126" fmla="*/ 552795 w 2286000"/>
              <a:gd name="connsiteY126" fmla="*/ 1566282 h 1741714"/>
              <a:gd name="connsiteX127" fmla="*/ 385049 w 2286000"/>
              <a:gd name="connsiteY127" fmla="*/ 1566282 h 1741714"/>
              <a:gd name="connsiteX128" fmla="*/ 382800 w 2286000"/>
              <a:gd name="connsiteY128" fmla="*/ 1568525 h 1741714"/>
              <a:gd name="connsiteX129" fmla="*/ 382800 w 2286000"/>
              <a:gd name="connsiteY129" fmla="*/ 1603760 h 1741714"/>
              <a:gd name="connsiteX130" fmla="*/ 385049 w 2286000"/>
              <a:gd name="connsiteY130" fmla="*/ 1606002 h 1741714"/>
              <a:gd name="connsiteX131" fmla="*/ 387298 w 2286000"/>
              <a:gd name="connsiteY131" fmla="*/ 1603760 h 1741714"/>
              <a:gd name="connsiteX132" fmla="*/ 387298 w 2286000"/>
              <a:gd name="connsiteY132" fmla="*/ 1568525 h 1741714"/>
              <a:gd name="connsiteX133" fmla="*/ 385049 w 2286000"/>
              <a:gd name="connsiteY133" fmla="*/ 1566282 h 1741714"/>
              <a:gd name="connsiteX134" fmla="*/ 353945 w 2286000"/>
              <a:gd name="connsiteY134" fmla="*/ 1566282 h 1741714"/>
              <a:gd name="connsiteX135" fmla="*/ 334038 w 2286000"/>
              <a:gd name="connsiteY135" fmla="*/ 1586134 h 1741714"/>
              <a:gd name="connsiteX136" fmla="*/ 353945 w 2286000"/>
              <a:gd name="connsiteY136" fmla="*/ 1605987 h 1741714"/>
              <a:gd name="connsiteX137" fmla="*/ 369355 w 2286000"/>
              <a:gd name="connsiteY137" fmla="*/ 1598690 h 1741714"/>
              <a:gd name="connsiteX138" fmla="*/ 369355 w 2286000"/>
              <a:gd name="connsiteY138" fmla="*/ 1603760 h 1741714"/>
              <a:gd name="connsiteX139" fmla="*/ 353945 w 2286000"/>
              <a:gd name="connsiteY139" fmla="*/ 1619127 h 1741714"/>
              <a:gd name="connsiteX140" fmla="*/ 339771 w 2286000"/>
              <a:gd name="connsiteY140" fmla="*/ 1609824 h 1741714"/>
              <a:gd name="connsiteX141" fmla="*/ 336809 w 2286000"/>
              <a:gd name="connsiteY141" fmla="*/ 1608656 h 1741714"/>
              <a:gd name="connsiteX142" fmla="*/ 335638 w 2286000"/>
              <a:gd name="connsiteY142" fmla="*/ 1611609 h 1741714"/>
              <a:gd name="connsiteX143" fmla="*/ 353945 w 2286000"/>
              <a:gd name="connsiteY143" fmla="*/ 1623628 h 1741714"/>
              <a:gd name="connsiteX144" fmla="*/ 373852 w 2286000"/>
              <a:gd name="connsiteY144" fmla="*/ 1603776 h 1741714"/>
              <a:gd name="connsiteX145" fmla="*/ 373852 w 2286000"/>
              <a:gd name="connsiteY145" fmla="*/ 1586150 h 1741714"/>
              <a:gd name="connsiteX146" fmla="*/ 353945 w 2286000"/>
              <a:gd name="connsiteY146" fmla="*/ 1566298 h 1741714"/>
              <a:gd name="connsiteX147" fmla="*/ 322540 w 2286000"/>
              <a:gd name="connsiteY147" fmla="*/ 1566282 h 1741714"/>
              <a:gd name="connsiteX148" fmla="*/ 320307 w 2286000"/>
              <a:gd name="connsiteY148" fmla="*/ 1568525 h 1741714"/>
              <a:gd name="connsiteX149" fmla="*/ 320307 w 2286000"/>
              <a:gd name="connsiteY149" fmla="*/ 1603760 h 1741714"/>
              <a:gd name="connsiteX150" fmla="*/ 322540 w 2286000"/>
              <a:gd name="connsiteY150" fmla="*/ 1606002 h 1741714"/>
              <a:gd name="connsiteX151" fmla="*/ 324789 w 2286000"/>
              <a:gd name="connsiteY151" fmla="*/ 1603760 h 1741714"/>
              <a:gd name="connsiteX152" fmla="*/ 324789 w 2286000"/>
              <a:gd name="connsiteY152" fmla="*/ 1568525 h 1741714"/>
              <a:gd name="connsiteX153" fmla="*/ 322540 w 2286000"/>
              <a:gd name="connsiteY153" fmla="*/ 1566282 h 1741714"/>
              <a:gd name="connsiteX154" fmla="*/ 795466 w 2286000"/>
              <a:gd name="connsiteY154" fmla="*/ 1566266 h 1741714"/>
              <a:gd name="connsiteX155" fmla="*/ 784507 w 2286000"/>
              <a:gd name="connsiteY155" fmla="*/ 1570830 h 1741714"/>
              <a:gd name="connsiteX156" fmla="*/ 784507 w 2286000"/>
              <a:gd name="connsiteY156" fmla="*/ 1568556 h 1741714"/>
              <a:gd name="connsiteX157" fmla="*/ 782258 w 2286000"/>
              <a:gd name="connsiteY157" fmla="*/ 1566313 h 1741714"/>
              <a:gd name="connsiteX158" fmla="*/ 780009 w 2286000"/>
              <a:gd name="connsiteY158" fmla="*/ 1566313 h 1741714"/>
              <a:gd name="connsiteX159" fmla="*/ 780009 w 2286000"/>
              <a:gd name="connsiteY159" fmla="*/ 1568556 h 1741714"/>
              <a:gd name="connsiteX160" fmla="*/ 780009 w 2286000"/>
              <a:gd name="connsiteY160" fmla="*/ 1603760 h 1741714"/>
              <a:gd name="connsiteX161" fmla="*/ 782258 w 2286000"/>
              <a:gd name="connsiteY161" fmla="*/ 1606002 h 1741714"/>
              <a:gd name="connsiteX162" fmla="*/ 784507 w 2286000"/>
              <a:gd name="connsiteY162" fmla="*/ 1603760 h 1741714"/>
              <a:gd name="connsiteX163" fmla="*/ 784507 w 2286000"/>
              <a:gd name="connsiteY163" fmla="*/ 1581696 h 1741714"/>
              <a:gd name="connsiteX164" fmla="*/ 795466 w 2286000"/>
              <a:gd name="connsiteY164" fmla="*/ 1570767 h 1741714"/>
              <a:gd name="connsiteX165" fmla="*/ 806425 w 2286000"/>
              <a:gd name="connsiteY165" fmla="*/ 1581696 h 1741714"/>
              <a:gd name="connsiteX166" fmla="*/ 806425 w 2286000"/>
              <a:gd name="connsiteY166" fmla="*/ 1603760 h 1741714"/>
              <a:gd name="connsiteX167" fmla="*/ 808674 w 2286000"/>
              <a:gd name="connsiteY167" fmla="*/ 1606002 h 1741714"/>
              <a:gd name="connsiteX168" fmla="*/ 810923 w 2286000"/>
              <a:gd name="connsiteY168" fmla="*/ 1603760 h 1741714"/>
              <a:gd name="connsiteX169" fmla="*/ 810923 w 2286000"/>
              <a:gd name="connsiteY169" fmla="*/ 1581696 h 1741714"/>
              <a:gd name="connsiteX170" fmla="*/ 821882 w 2286000"/>
              <a:gd name="connsiteY170" fmla="*/ 1570767 h 1741714"/>
              <a:gd name="connsiteX171" fmla="*/ 832841 w 2286000"/>
              <a:gd name="connsiteY171" fmla="*/ 1581696 h 1741714"/>
              <a:gd name="connsiteX172" fmla="*/ 832841 w 2286000"/>
              <a:gd name="connsiteY172" fmla="*/ 1603760 h 1741714"/>
              <a:gd name="connsiteX173" fmla="*/ 835090 w 2286000"/>
              <a:gd name="connsiteY173" fmla="*/ 1606002 h 1741714"/>
              <a:gd name="connsiteX174" fmla="*/ 837339 w 2286000"/>
              <a:gd name="connsiteY174" fmla="*/ 1603760 h 1741714"/>
              <a:gd name="connsiteX175" fmla="*/ 837339 w 2286000"/>
              <a:gd name="connsiteY175" fmla="*/ 1581696 h 1741714"/>
              <a:gd name="connsiteX176" fmla="*/ 832806 w 2286000"/>
              <a:gd name="connsiteY176" fmla="*/ 1570795 h 1741714"/>
              <a:gd name="connsiteX177" fmla="*/ 821892 w 2286000"/>
              <a:gd name="connsiteY177" fmla="*/ 1566270 h 1741714"/>
              <a:gd name="connsiteX178" fmla="*/ 821898 w 2286000"/>
              <a:gd name="connsiteY178" fmla="*/ 1566266 h 1741714"/>
              <a:gd name="connsiteX179" fmla="*/ 821882 w 2286000"/>
              <a:gd name="connsiteY179" fmla="*/ 1566266 h 1741714"/>
              <a:gd name="connsiteX180" fmla="*/ 821892 w 2286000"/>
              <a:gd name="connsiteY180" fmla="*/ 1566270 h 1741714"/>
              <a:gd name="connsiteX181" fmla="*/ 808690 w 2286000"/>
              <a:gd name="connsiteY181" fmla="*/ 1573720 h 1741714"/>
              <a:gd name="connsiteX182" fmla="*/ 795466 w 2286000"/>
              <a:gd name="connsiteY182" fmla="*/ 1566266 h 1741714"/>
              <a:gd name="connsiteX183" fmla="*/ 666141 w 2286000"/>
              <a:gd name="connsiteY183" fmla="*/ 1566266 h 1741714"/>
              <a:gd name="connsiteX184" fmla="*/ 655182 w 2286000"/>
              <a:gd name="connsiteY184" fmla="*/ 1570830 h 1741714"/>
              <a:gd name="connsiteX185" fmla="*/ 655182 w 2286000"/>
              <a:gd name="connsiteY185" fmla="*/ 1568556 h 1741714"/>
              <a:gd name="connsiteX186" fmla="*/ 652933 w 2286000"/>
              <a:gd name="connsiteY186" fmla="*/ 1566313 h 1741714"/>
              <a:gd name="connsiteX187" fmla="*/ 650684 w 2286000"/>
              <a:gd name="connsiteY187" fmla="*/ 1566313 h 1741714"/>
              <a:gd name="connsiteX188" fmla="*/ 650684 w 2286000"/>
              <a:gd name="connsiteY188" fmla="*/ 1568556 h 1741714"/>
              <a:gd name="connsiteX189" fmla="*/ 650684 w 2286000"/>
              <a:gd name="connsiteY189" fmla="*/ 1603760 h 1741714"/>
              <a:gd name="connsiteX190" fmla="*/ 652933 w 2286000"/>
              <a:gd name="connsiteY190" fmla="*/ 1606002 h 1741714"/>
              <a:gd name="connsiteX191" fmla="*/ 655182 w 2286000"/>
              <a:gd name="connsiteY191" fmla="*/ 1603760 h 1741714"/>
              <a:gd name="connsiteX192" fmla="*/ 655182 w 2286000"/>
              <a:gd name="connsiteY192" fmla="*/ 1581696 h 1741714"/>
              <a:gd name="connsiteX193" fmla="*/ 666141 w 2286000"/>
              <a:gd name="connsiteY193" fmla="*/ 1570767 h 1741714"/>
              <a:gd name="connsiteX194" fmla="*/ 677100 w 2286000"/>
              <a:gd name="connsiteY194" fmla="*/ 1581696 h 1741714"/>
              <a:gd name="connsiteX195" fmla="*/ 677100 w 2286000"/>
              <a:gd name="connsiteY195" fmla="*/ 1603760 h 1741714"/>
              <a:gd name="connsiteX196" fmla="*/ 679349 w 2286000"/>
              <a:gd name="connsiteY196" fmla="*/ 1606002 h 1741714"/>
              <a:gd name="connsiteX197" fmla="*/ 681598 w 2286000"/>
              <a:gd name="connsiteY197" fmla="*/ 1603760 h 1741714"/>
              <a:gd name="connsiteX198" fmla="*/ 681598 w 2286000"/>
              <a:gd name="connsiteY198" fmla="*/ 1581696 h 1741714"/>
              <a:gd name="connsiteX199" fmla="*/ 692557 w 2286000"/>
              <a:gd name="connsiteY199" fmla="*/ 1570767 h 1741714"/>
              <a:gd name="connsiteX200" fmla="*/ 703516 w 2286000"/>
              <a:gd name="connsiteY200" fmla="*/ 1581696 h 1741714"/>
              <a:gd name="connsiteX201" fmla="*/ 703516 w 2286000"/>
              <a:gd name="connsiteY201" fmla="*/ 1603760 h 1741714"/>
              <a:gd name="connsiteX202" fmla="*/ 705781 w 2286000"/>
              <a:gd name="connsiteY202" fmla="*/ 1606002 h 1741714"/>
              <a:gd name="connsiteX203" fmla="*/ 708014 w 2286000"/>
              <a:gd name="connsiteY203" fmla="*/ 1603760 h 1741714"/>
              <a:gd name="connsiteX204" fmla="*/ 708014 w 2286000"/>
              <a:gd name="connsiteY204" fmla="*/ 1581696 h 1741714"/>
              <a:gd name="connsiteX205" fmla="*/ 692557 w 2286000"/>
              <a:gd name="connsiteY205" fmla="*/ 1566266 h 1741714"/>
              <a:gd name="connsiteX206" fmla="*/ 679349 w 2286000"/>
              <a:gd name="connsiteY206" fmla="*/ 1573720 h 1741714"/>
              <a:gd name="connsiteX207" fmla="*/ 666141 w 2286000"/>
              <a:gd name="connsiteY207" fmla="*/ 1566266 h 1741714"/>
              <a:gd name="connsiteX208" fmla="*/ 936875 w 2286000"/>
              <a:gd name="connsiteY208" fmla="*/ 1554247 h 1741714"/>
              <a:gd name="connsiteX209" fmla="*/ 936875 w 2286000"/>
              <a:gd name="connsiteY209" fmla="*/ 1556490 h 1741714"/>
              <a:gd name="connsiteX210" fmla="*/ 939124 w 2286000"/>
              <a:gd name="connsiteY210" fmla="*/ 1558732 h 1741714"/>
              <a:gd name="connsiteX211" fmla="*/ 941357 w 2286000"/>
              <a:gd name="connsiteY211" fmla="*/ 1556490 h 1741714"/>
              <a:gd name="connsiteX212" fmla="*/ 939124 w 2286000"/>
              <a:gd name="connsiteY212" fmla="*/ 1554247 h 1741714"/>
              <a:gd name="connsiteX213" fmla="*/ 550546 w 2286000"/>
              <a:gd name="connsiteY213" fmla="*/ 1554247 h 1741714"/>
              <a:gd name="connsiteX214" fmla="*/ 550546 w 2286000"/>
              <a:gd name="connsiteY214" fmla="*/ 1556490 h 1741714"/>
              <a:gd name="connsiteX215" fmla="*/ 552795 w 2286000"/>
              <a:gd name="connsiteY215" fmla="*/ 1558732 h 1741714"/>
              <a:gd name="connsiteX216" fmla="*/ 555044 w 2286000"/>
              <a:gd name="connsiteY216" fmla="*/ 1556490 h 1741714"/>
              <a:gd name="connsiteX217" fmla="*/ 552795 w 2286000"/>
              <a:gd name="connsiteY217" fmla="*/ 1554247 h 1741714"/>
              <a:gd name="connsiteX218" fmla="*/ 382800 w 2286000"/>
              <a:gd name="connsiteY218" fmla="*/ 1554247 h 1741714"/>
              <a:gd name="connsiteX219" fmla="*/ 382800 w 2286000"/>
              <a:gd name="connsiteY219" fmla="*/ 1556490 h 1741714"/>
              <a:gd name="connsiteX220" fmla="*/ 385049 w 2286000"/>
              <a:gd name="connsiteY220" fmla="*/ 1558732 h 1741714"/>
              <a:gd name="connsiteX221" fmla="*/ 387298 w 2286000"/>
              <a:gd name="connsiteY221" fmla="*/ 1556490 h 1741714"/>
              <a:gd name="connsiteX222" fmla="*/ 385049 w 2286000"/>
              <a:gd name="connsiteY222" fmla="*/ 1554247 h 1741714"/>
              <a:gd name="connsiteX223" fmla="*/ 320291 w 2286000"/>
              <a:gd name="connsiteY223" fmla="*/ 1554247 h 1741714"/>
              <a:gd name="connsiteX224" fmla="*/ 320291 w 2286000"/>
              <a:gd name="connsiteY224" fmla="*/ 1556490 h 1741714"/>
              <a:gd name="connsiteX225" fmla="*/ 322540 w 2286000"/>
              <a:gd name="connsiteY225" fmla="*/ 1558732 h 1741714"/>
              <a:gd name="connsiteX226" fmla="*/ 324773 w 2286000"/>
              <a:gd name="connsiteY226" fmla="*/ 1556490 h 1741714"/>
              <a:gd name="connsiteX227" fmla="*/ 322540 w 2286000"/>
              <a:gd name="connsiteY227" fmla="*/ 1554247 h 1741714"/>
              <a:gd name="connsiteX228" fmla="*/ 925773 w 2286000"/>
              <a:gd name="connsiteY228" fmla="*/ 1549493 h 1741714"/>
              <a:gd name="connsiteX229" fmla="*/ 923524 w 2286000"/>
              <a:gd name="connsiteY229" fmla="*/ 1551736 h 1741714"/>
              <a:gd name="connsiteX230" fmla="*/ 923524 w 2286000"/>
              <a:gd name="connsiteY230" fmla="*/ 1573594 h 1741714"/>
              <a:gd name="connsiteX231" fmla="*/ 908099 w 2286000"/>
              <a:gd name="connsiteY231" fmla="*/ 1566297 h 1741714"/>
              <a:gd name="connsiteX232" fmla="*/ 888192 w 2286000"/>
              <a:gd name="connsiteY232" fmla="*/ 1586150 h 1741714"/>
              <a:gd name="connsiteX233" fmla="*/ 908099 w 2286000"/>
              <a:gd name="connsiteY233" fmla="*/ 1606002 h 1741714"/>
              <a:gd name="connsiteX234" fmla="*/ 928022 w 2286000"/>
              <a:gd name="connsiteY234" fmla="*/ 1606002 h 1741714"/>
              <a:gd name="connsiteX235" fmla="*/ 928022 w 2286000"/>
              <a:gd name="connsiteY235" fmla="*/ 1551736 h 1741714"/>
              <a:gd name="connsiteX236" fmla="*/ 925773 w 2286000"/>
              <a:gd name="connsiteY236" fmla="*/ 1549493 h 1741714"/>
              <a:gd name="connsiteX237" fmla="*/ 470759 w 2286000"/>
              <a:gd name="connsiteY237" fmla="*/ 1549493 h 1741714"/>
              <a:gd name="connsiteX238" fmla="*/ 468510 w 2286000"/>
              <a:gd name="connsiteY238" fmla="*/ 1551736 h 1741714"/>
              <a:gd name="connsiteX239" fmla="*/ 468510 w 2286000"/>
              <a:gd name="connsiteY239" fmla="*/ 1600332 h 1741714"/>
              <a:gd name="connsiteX240" fmla="*/ 474195 w 2286000"/>
              <a:gd name="connsiteY240" fmla="*/ 1606002 h 1741714"/>
              <a:gd name="connsiteX241" fmla="*/ 476444 w 2286000"/>
              <a:gd name="connsiteY241" fmla="*/ 1603759 h 1741714"/>
              <a:gd name="connsiteX242" fmla="*/ 474195 w 2286000"/>
              <a:gd name="connsiteY242" fmla="*/ 1601517 h 1741714"/>
              <a:gd name="connsiteX243" fmla="*/ 473008 w 2286000"/>
              <a:gd name="connsiteY243" fmla="*/ 1600332 h 1741714"/>
              <a:gd name="connsiteX244" fmla="*/ 473008 w 2286000"/>
              <a:gd name="connsiteY244" fmla="*/ 1551736 h 1741714"/>
              <a:gd name="connsiteX245" fmla="*/ 470759 w 2286000"/>
              <a:gd name="connsiteY245" fmla="*/ 1549493 h 1741714"/>
              <a:gd name="connsiteX246" fmla="*/ 404687 w 2286000"/>
              <a:gd name="connsiteY246" fmla="*/ 1549478 h 1741714"/>
              <a:gd name="connsiteX247" fmla="*/ 402438 w 2286000"/>
              <a:gd name="connsiteY247" fmla="*/ 1551721 h 1741714"/>
              <a:gd name="connsiteX248" fmla="*/ 402438 w 2286000"/>
              <a:gd name="connsiteY248" fmla="*/ 1566282 h 1741714"/>
              <a:gd name="connsiteX249" fmla="*/ 398669 w 2286000"/>
              <a:gd name="connsiteY249" fmla="*/ 1566282 h 1741714"/>
              <a:gd name="connsiteX250" fmla="*/ 396420 w 2286000"/>
              <a:gd name="connsiteY250" fmla="*/ 1568525 h 1741714"/>
              <a:gd name="connsiteX251" fmla="*/ 398669 w 2286000"/>
              <a:gd name="connsiteY251" fmla="*/ 1570768 h 1741714"/>
              <a:gd name="connsiteX252" fmla="*/ 402438 w 2286000"/>
              <a:gd name="connsiteY252" fmla="*/ 1570768 h 1741714"/>
              <a:gd name="connsiteX253" fmla="*/ 402438 w 2286000"/>
              <a:gd name="connsiteY253" fmla="*/ 1594079 h 1741714"/>
              <a:gd name="connsiteX254" fmla="*/ 414379 w 2286000"/>
              <a:gd name="connsiteY254" fmla="*/ 1605987 h 1741714"/>
              <a:gd name="connsiteX255" fmla="*/ 417040 w 2286000"/>
              <a:gd name="connsiteY255" fmla="*/ 1605687 h 1741714"/>
              <a:gd name="connsiteX256" fmla="*/ 418727 w 2286000"/>
              <a:gd name="connsiteY256" fmla="*/ 1603014 h 1741714"/>
              <a:gd name="connsiteX257" fmla="*/ 418734 w 2286000"/>
              <a:gd name="connsiteY257" fmla="*/ 1603018 h 1741714"/>
              <a:gd name="connsiteX258" fmla="*/ 418734 w 2286000"/>
              <a:gd name="connsiteY258" fmla="*/ 1603002 h 1741714"/>
              <a:gd name="connsiteX259" fmla="*/ 418727 w 2286000"/>
              <a:gd name="connsiteY259" fmla="*/ 1603014 h 1741714"/>
              <a:gd name="connsiteX260" fmla="*/ 416042 w 2286000"/>
              <a:gd name="connsiteY260" fmla="*/ 1601328 h 1741714"/>
              <a:gd name="connsiteX261" fmla="*/ 414379 w 2286000"/>
              <a:gd name="connsiteY261" fmla="*/ 1601517 h 1741714"/>
              <a:gd name="connsiteX262" fmla="*/ 406936 w 2286000"/>
              <a:gd name="connsiteY262" fmla="*/ 1594079 h 1741714"/>
              <a:gd name="connsiteX263" fmla="*/ 406936 w 2286000"/>
              <a:gd name="connsiteY263" fmla="*/ 1570768 h 1741714"/>
              <a:gd name="connsiteX264" fmla="*/ 413271 w 2286000"/>
              <a:gd name="connsiteY264" fmla="*/ 1570768 h 1741714"/>
              <a:gd name="connsiteX265" fmla="*/ 415519 w 2286000"/>
              <a:gd name="connsiteY265" fmla="*/ 1568525 h 1741714"/>
              <a:gd name="connsiteX266" fmla="*/ 413271 w 2286000"/>
              <a:gd name="connsiteY266" fmla="*/ 1566282 h 1741714"/>
              <a:gd name="connsiteX267" fmla="*/ 406936 w 2286000"/>
              <a:gd name="connsiteY267" fmla="*/ 1566282 h 1741714"/>
              <a:gd name="connsiteX268" fmla="*/ 406936 w 2286000"/>
              <a:gd name="connsiteY268" fmla="*/ 1551721 h 1741714"/>
              <a:gd name="connsiteX269" fmla="*/ 404687 w 2286000"/>
              <a:gd name="connsiteY269" fmla="*/ 1549478 h 1741714"/>
              <a:gd name="connsiteX270" fmla="*/ 309237 w 2286000"/>
              <a:gd name="connsiteY270" fmla="*/ 1549478 h 1741714"/>
              <a:gd name="connsiteX271" fmla="*/ 306989 w 2286000"/>
              <a:gd name="connsiteY271" fmla="*/ 1551721 h 1741714"/>
              <a:gd name="connsiteX272" fmla="*/ 306989 w 2286000"/>
              <a:gd name="connsiteY272" fmla="*/ 1573579 h 1741714"/>
              <a:gd name="connsiteX273" fmla="*/ 291579 w 2286000"/>
              <a:gd name="connsiteY273" fmla="*/ 1566282 h 1741714"/>
              <a:gd name="connsiteX274" fmla="*/ 271672 w 2286000"/>
              <a:gd name="connsiteY274" fmla="*/ 1586135 h 1741714"/>
              <a:gd name="connsiteX275" fmla="*/ 291579 w 2286000"/>
              <a:gd name="connsiteY275" fmla="*/ 1606003 h 1741714"/>
              <a:gd name="connsiteX276" fmla="*/ 311486 w 2286000"/>
              <a:gd name="connsiteY276" fmla="*/ 1606003 h 1741714"/>
              <a:gd name="connsiteX277" fmla="*/ 311486 w 2286000"/>
              <a:gd name="connsiteY277" fmla="*/ 1605987 h 1741714"/>
              <a:gd name="connsiteX278" fmla="*/ 311486 w 2286000"/>
              <a:gd name="connsiteY278" fmla="*/ 1551721 h 1741714"/>
              <a:gd name="connsiteX279" fmla="*/ 309237 w 2286000"/>
              <a:gd name="connsiteY279" fmla="*/ 1549478 h 1741714"/>
              <a:gd name="connsiteX280" fmla="*/ 546849 w 2286000"/>
              <a:gd name="connsiteY280" fmla="*/ 1444586 h 1741714"/>
              <a:gd name="connsiteX281" fmla="*/ 546857 w 2286000"/>
              <a:gd name="connsiteY281" fmla="*/ 1444626 h 1741714"/>
              <a:gd name="connsiteX282" fmla="*/ 546849 w 2286000"/>
              <a:gd name="connsiteY282" fmla="*/ 1444666 h 1741714"/>
              <a:gd name="connsiteX283" fmla="*/ 546841 w 2286000"/>
              <a:gd name="connsiteY283" fmla="*/ 1444626 h 1741714"/>
              <a:gd name="connsiteX284" fmla="*/ 271672 w 2286000"/>
              <a:gd name="connsiteY284" fmla="*/ 1374724 h 1741714"/>
              <a:gd name="connsiteX285" fmla="*/ 271672 w 2286000"/>
              <a:gd name="connsiteY285" fmla="*/ 1444626 h 1741714"/>
              <a:gd name="connsiteX286" fmla="*/ 340468 w 2286000"/>
              <a:gd name="connsiteY286" fmla="*/ 1514543 h 1741714"/>
              <a:gd name="connsiteX287" fmla="*/ 409264 w 2286000"/>
              <a:gd name="connsiteY287" fmla="*/ 1444626 h 1741714"/>
              <a:gd name="connsiteX288" fmla="*/ 478060 w 2286000"/>
              <a:gd name="connsiteY288" fmla="*/ 1514543 h 1741714"/>
              <a:gd name="connsiteX289" fmla="*/ 541451 w 2286000"/>
              <a:gd name="connsiteY289" fmla="*/ 1471848 h 1741714"/>
              <a:gd name="connsiteX290" fmla="*/ 546849 w 2286000"/>
              <a:gd name="connsiteY290" fmla="*/ 1444666 h 1741714"/>
              <a:gd name="connsiteX291" fmla="*/ 552246 w 2286000"/>
              <a:gd name="connsiteY291" fmla="*/ 1471841 h 1741714"/>
              <a:gd name="connsiteX292" fmla="*/ 615637 w 2286000"/>
              <a:gd name="connsiteY292" fmla="*/ 1514543 h 1741714"/>
              <a:gd name="connsiteX293" fmla="*/ 650035 w 2286000"/>
              <a:gd name="connsiteY293" fmla="*/ 1505178 h 1741714"/>
              <a:gd name="connsiteX294" fmla="*/ 684433 w 2286000"/>
              <a:gd name="connsiteY294" fmla="*/ 1514543 h 1741714"/>
              <a:gd name="connsiteX295" fmla="*/ 753229 w 2286000"/>
              <a:gd name="connsiteY295" fmla="*/ 1444626 h 1741714"/>
              <a:gd name="connsiteX296" fmla="*/ 684449 w 2286000"/>
              <a:gd name="connsiteY296" fmla="*/ 1374724 h 1741714"/>
              <a:gd name="connsiteX297" fmla="*/ 650051 w 2286000"/>
              <a:gd name="connsiteY297" fmla="*/ 1384074 h 1741714"/>
              <a:gd name="connsiteX298" fmla="*/ 650035 w 2286000"/>
              <a:gd name="connsiteY298" fmla="*/ 1384074 h 1741714"/>
              <a:gd name="connsiteX299" fmla="*/ 615637 w 2286000"/>
              <a:gd name="connsiteY299" fmla="*/ 1374724 h 1741714"/>
              <a:gd name="connsiteX300" fmla="*/ 552246 w 2286000"/>
              <a:gd name="connsiteY300" fmla="*/ 1417413 h 1741714"/>
              <a:gd name="connsiteX301" fmla="*/ 546849 w 2286000"/>
              <a:gd name="connsiteY301" fmla="*/ 1444586 h 1741714"/>
              <a:gd name="connsiteX302" fmla="*/ 541448 w 2286000"/>
              <a:gd name="connsiteY302" fmla="*/ 1417406 h 1741714"/>
              <a:gd name="connsiteX303" fmla="*/ 478060 w 2286000"/>
              <a:gd name="connsiteY303" fmla="*/ 1374724 h 1741714"/>
              <a:gd name="connsiteX304" fmla="*/ 409264 w 2286000"/>
              <a:gd name="connsiteY304" fmla="*/ 1444626 h 1741714"/>
              <a:gd name="connsiteX305" fmla="*/ 340468 w 2286000"/>
              <a:gd name="connsiteY305" fmla="*/ 1374724 h 1741714"/>
              <a:gd name="connsiteX306" fmla="*/ 0 w 2286000"/>
              <a:gd name="connsiteY306" fmla="*/ 0 h 1741714"/>
              <a:gd name="connsiteX307" fmla="*/ 2286000 w 2286000"/>
              <a:gd name="connsiteY307" fmla="*/ 0 h 1741714"/>
              <a:gd name="connsiteX308" fmla="*/ 2286000 w 2286000"/>
              <a:gd name="connsiteY308" fmla="*/ 1741714 h 1741714"/>
              <a:gd name="connsiteX309" fmla="*/ 0 w 2286000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286000" h="1741714">
                <a:moveTo>
                  <a:pt x="970038" y="1570768"/>
                </a:moveTo>
                <a:cubicBezTo>
                  <a:pt x="978543" y="1570768"/>
                  <a:pt x="985463" y="1577669"/>
                  <a:pt x="985463" y="1586135"/>
                </a:cubicBezTo>
                <a:lnTo>
                  <a:pt x="985463" y="1601517"/>
                </a:lnTo>
                <a:lnTo>
                  <a:pt x="970038" y="1601517"/>
                </a:lnTo>
                <a:cubicBezTo>
                  <a:pt x="961549" y="1601517"/>
                  <a:pt x="954629" y="1594600"/>
                  <a:pt x="954629" y="1586135"/>
                </a:cubicBezTo>
                <a:cubicBezTo>
                  <a:pt x="954629" y="1577669"/>
                  <a:pt x="961534" y="1570768"/>
                  <a:pt x="970038" y="1570768"/>
                </a:cubicBezTo>
                <a:close/>
                <a:moveTo>
                  <a:pt x="862140" y="1570768"/>
                </a:moveTo>
                <a:cubicBezTo>
                  <a:pt x="869869" y="1570768"/>
                  <a:pt x="876299" y="1576485"/>
                  <a:pt x="877391" y="1583892"/>
                </a:cubicBezTo>
                <a:lnTo>
                  <a:pt x="846889" y="1583892"/>
                </a:lnTo>
                <a:cubicBezTo>
                  <a:pt x="847982" y="1576485"/>
                  <a:pt x="854412" y="1570768"/>
                  <a:pt x="862140" y="1570768"/>
                </a:cubicBezTo>
                <a:close/>
                <a:moveTo>
                  <a:pt x="733559" y="1570768"/>
                </a:moveTo>
                <a:cubicBezTo>
                  <a:pt x="742064" y="1570768"/>
                  <a:pt x="748985" y="1577669"/>
                  <a:pt x="748985" y="1586135"/>
                </a:cubicBezTo>
                <a:lnTo>
                  <a:pt x="748985" y="1601517"/>
                </a:lnTo>
                <a:lnTo>
                  <a:pt x="733559" y="1601517"/>
                </a:lnTo>
                <a:cubicBezTo>
                  <a:pt x="725071" y="1601517"/>
                  <a:pt x="718150" y="1594600"/>
                  <a:pt x="718150" y="1586135"/>
                </a:cubicBezTo>
                <a:cubicBezTo>
                  <a:pt x="718150" y="1577669"/>
                  <a:pt x="725071" y="1570768"/>
                  <a:pt x="733559" y="1570768"/>
                </a:cubicBezTo>
                <a:close/>
                <a:moveTo>
                  <a:pt x="625709" y="1570768"/>
                </a:moveTo>
                <a:cubicBezTo>
                  <a:pt x="633438" y="1570768"/>
                  <a:pt x="639868" y="1576485"/>
                  <a:pt x="640960" y="1583892"/>
                </a:cubicBezTo>
                <a:lnTo>
                  <a:pt x="610458" y="1583892"/>
                </a:lnTo>
                <a:cubicBezTo>
                  <a:pt x="611535" y="1576485"/>
                  <a:pt x="617981" y="1570768"/>
                  <a:pt x="625709" y="1570768"/>
                </a:cubicBezTo>
                <a:close/>
                <a:moveTo>
                  <a:pt x="442695" y="1570768"/>
                </a:moveTo>
                <a:cubicBezTo>
                  <a:pt x="451200" y="1570768"/>
                  <a:pt x="458105" y="1577669"/>
                  <a:pt x="458105" y="1586135"/>
                </a:cubicBezTo>
                <a:lnTo>
                  <a:pt x="458105" y="1601517"/>
                </a:lnTo>
                <a:lnTo>
                  <a:pt x="442695" y="1601517"/>
                </a:lnTo>
                <a:cubicBezTo>
                  <a:pt x="434191" y="1601517"/>
                  <a:pt x="427286" y="1594600"/>
                  <a:pt x="427286" y="1586135"/>
                </a:cubicBezTo>
                <a:cubicBezTo>
                  <a:pt x="427286" y="1577669"/>
                  <a:pt x="434191" y="1570768"/>
                  <a:pt x="442695" y="1570768"/>
                </a:cubicBezTo>
                <a:close/>
                <a:moveTo>
                  <a:pt x="291579" y="1570768"/>
                </a:moveTo>
                <a:cubicBezTo>
                  <a:pt x="300068" y="1570768"/>
                  <a:pt x="306989" y="1577669"/>
                  <a:pt x="306989" y="1586135"/>
                </a:cubicBezTo>
                <a:lnTo>
                  <a:pt x="306989" y="1601517"/>
                </a:lnTo>
                <a:lnTo>
                  <a:pt x="291579" y="1601517"/>
                </a:lnTo>
                <a:cubicBezTo>
                  <a:pt x="283091" y="1601517"/>
                  <a:pt x="276170" y="1594600"/>
                  <a:pt x="276170" y="1586135"/>
                </a:cubicBezTo>
                <a:cubicBezTo>
                  <a:pt x="276170" y="1577669"/>
                  <a:pt x="283091" y="1570768"/>
                  <a:pt x="291579" y="1570768"/>
                </a:cubicBezTo>
                <a:close/>
                <a:moveTo>
                  <a:pt x="908115" y="1570767"/>
                </a:moveTo>
                <a:cubicBezTo>
                  <a:pt x="916619" y="1570767"/>
                  <a:pt x="923540" y="1577668"/>
                  <a:pt x="923540" y="1586134"/>
                </a:cubicBezTo>
                <a:lnTo>
                  <a:pt x="923540" y="1601517"/>
                </a:lnTo>
                <a:lnTo>
                  <a:pt x="908115" y="1601517"/>
                </a:lnTo>
                <a:cubicBezTo>
                  <a:pt x="899626" y="1601517"/>
                  <a:pt x="892706" y="1594599"/>
                  <a:pt x="892706" y="1586134"/>
                </a:cubicBezTo>
                <a:cubicBezTo>
                  <a:pt x="892706" y="1577668"/>
                  <a:pt x="899626" y="1570767"/>
                  <a:pt x="908115" y="1570767"/>
                </a:cubicBezTo>
                <a:close/>
                <a:moveTo>
                  <a:pt x="353945" y="1570767"/>
                </a:moveTo>
                <a:cubicBezTo>
                  <a:pt x="362434" y="1570767"/>
                  <a:pt x="369355" y="1577653"/>
                  <a:pt x="369355" y="1586134"/>
                </a:cubicBezTo>
                <a:cubicBezTo>
                  <a:pt x="369355" y="1594615"/>
                  <a:pt x="362434" y="1601517"/>
                  <a:pt x="353945" y="1601517"/>
                </a:cubicBezTo>
                <a:cubicBezTo>
                  <a:pt x="345457" y="1601517"/>
                  <a:pt x="338536" y="1594615"/>
                  <a:pt x="338536" y="1586134"/>
                </a:cubicBezTo>
                <a:cubicBezTo>
                  <a:pt x="338536" y="1577653"/>
                  <a:pt x="345457" y="1570767"/>
                  <a:pt x="353945" y="1570767"/>
                </a:cubicBezTo>
                <a:close/>
                <a:moveTo>
                  <a:pt x="563168" y="1566313"/>
                </a:moveTo>
                <a:lnTo>
                  <a:pt x="563168" y="1603759"/>
                </a:lnTo>
                <a:cubicBezTo>
                  <a:pt x="563168" y="1604991"/>
                  <a:pt x="564182" y="1606002"/>
                  <a:pt x="565417" y="1606002"/>
                </a:cubicBezTo>
                <a:cubicBezTo>
                  <a:pt x="566652" y="1606002"/>
                  <a:pt x="567666" y="1604991"/>
                  <a:pt x="567666" y="1603759"/>
                </a:cubicBezTo>
                <a:lnTo>
                  <a:pt x="567666" y="1589593"/>
                </a:lnTo>
                <a:lnTo>
                  <a:pt x="567666" y="1584507"/>
                </a:lnTo>
                <a:cubicBezTo>
                  <a:pt x="567666" y="1576942"/>
                  <a:pt x="573842" y="1570798"/>
                  <a:pt x="581428" y="1570798"/>
                </a:cubicBezTo>
                <a:cubicBezTo>
                  <a:pt x="589014" y="1570798"/>
                  <a:pt x="595191" y="1576958"/>
                  <a:pt x="595191" y="1584523"/>
                </a:cubicBezTo>
                <a:lnTo>
                  <a:pt x="595191" y="1603759"/>
                </a:lnTo>
                <a:cubicBezTo>
                  <a:pt x="595191" y="1604991"/>
                  <a:pt x="596204" y="1606002"/>
                  <a:pt x="597439" y="1606002"/>
                </a:cubicBezTo>
                <a:cubicBezTo>
                  <a:pt x="598675" y="1606002"/>
                  <a:pt x="599688" y="1604991"/>
                  <a:pt x="599688" y="1603759"/>
                </a:cubicBezTo>
                <a:lnTo>
                  <a:pt x="599688" y="1584523"/>
                </a:lnTo>
                <a:cubicBezTo>
                  <a:pt x="599688" y="1574478"/>
                  <a:pt x="591500" y="1566313"/>
                  <a:pt x="581444" y="1566313"/>
                </a:cubicBezTo>
                <a:lnTo>
                  <a:pt x="581428" y="1566313"/>
                </a:lnTo>
                <a:cubicBezTo>
                  <a:pt x="575933" y="1566313"/>
                  <a:pt x="571023" y="1568745"/>
                  <a:pt x="567666" y="1572567"/>
                </a:cubicBezTo>
                <a:lnTo>
                  <a:pt x="567666" y="1568556"/>
                </a:lnTo>
                <a:cubicBezTo>
                  <a:pt x="567666" y="1567308"/>
                  <a:pt x="566668" y="1566313"/>
                  <a:pt x="565417" y="1566313"/>
                </a:cubicBezTo>
                <a:close/>
                <a:moveTo>
                  <a:pt x="970038" y="1566298"/>
                </a:moveTo>
                <a:cubicBezTo>
                  <a:pt x="959063" y="1566298"/>
                  <a:pt x="950131" y="1575205"/>
                  <a:pt x="950131" y="1586150"/>
                </a:cubicBezTo>
                <a:cubicBezTo>
                  <a:pt x="950131" y="1597095"/>
                  <a:pt x="959063" y="1606003"/>
                  <a:pt x="970038" y="1606003"/>
                </a:cubicBezTo>
                <a:lnTo>
                  <a:pt x="989945" y="1606003"/>
                </a:lnTo>
                <a:lnTo>
                  <a:pt x="989945" y="1586150"/>
                </a:lnTo>
                <a:cubicBezTo>
                  <a:pt x="989945" y="1575205"/>
                  <a:pt x="981013" y="1566298"/>
                  <a:pt x="970038" y="1566298"/>
                </a:cubicBezTo>
                <a:close/>
                <a:moveTo>
                  <a:pt x="862140" y="1566298"/>
                </a:moveTo>
                <a:cubicBezTo>
                  <a:pt x="851165" y="1566298"/>
                  <a:pt x="842233" y="1575205"/>
                  <a:pt x="842233" y="1586150"/>
                </a:cubicBezTo>
                <a:cubicBezTo>
                  <a:pt x="842233" y="1597095"/>
                  <a:pt x="851165" y="1606003"/>
                  <a:pt x="862140" y="1606003"/>
                </a:cubicBezTo>
                <a:cubicBezTo>
                  <a:pt x="866590" y="1606003"/>
                  <a:pt x="870819" y="1604565"/>
                  <a:pt x="874335" y="1601849"/>
                </a:cubicBezTo>
                <a:cubicBezTo>
                  <a:pt x="875317" y="1601091"/>
                  <a:pt x="875491" y="1599685"/>
                  <a:pt x="874731" y="1598706"/>
                </a:cubicBezTo>
                <a:cubicBezTo>
                  <a:pt x="873970" y="1597727"/>
                  <a:pt x="872561" y="1597569"/>
                  <a:pt x="871579" y="1598311"/>
                </a:cubicBezTo>
                <a:cubicBezTo>
                  <a:pt x="868855" y="1600412"/>
                  <a:pt x="865593" y="1601533"/>
                  <a:pt x="862140" y="1601533"/>
                </a:cubicBezTo>
                <a:cubicBezTo>
                  <a:pt x="854412" y="1601533"/>
                  <a:pt x="847982" y="1595816"/>
                  <a:pt x="846889" y="1588393"/>
                </a:cubicBezTo>
                <a:lnTo>
                  <a:pt x="879798" y="1588393"/>
                </a:lnTo>
                <a:cubicBezTo>
                  <a:pt x="881034" y="1588393"/>
                  <a:pt x="882047" y="1587398"/>
                  <a:pt x="882047" y="1586150"/>
                </a:cubicBezTo>
                <a:cubicBezTo>
                  <a:pt x="882047" y="1575205"/>
                  <a:pt x="873115" y="1566298"/>
                  <a:pt x="862140" y="1566298"/>
                </a:cubicBezTo>
                <a:close/>
                <a:moveTo>
                  <a:pt x="733559" y="1566298"/>
                </a:moveTo>
                <a:cubicBezTo>
                  <a:pt x="722584" y="1566298"/>
                  <a:pt x="713652" y="1575205"/>
                  <a:pt x="713652" y="1586150"/>
                </a:cubicBezTo>
                <a:cubicBezTo>
                  <a:pt x="713652" y="1597095"/>
                  <a:pt x="722584" y="1606003"/>
                  <a:pt x="733559" y="1606003"/>
                </a:cubicBezTo>
                <a:lnTo>
                  <a:pt x="753482" y="1606003"/>
                </a:lnTo>
                <a:lnTo>
                  <a:pt x="753482" y="1586150"/>
                </a:lnTo>
                <a:cubicBezTo>
                  <a:pt x="753482" y="1575205"/>
                  <a:pt x="744534" y="1566298"/>
                  <a:pt x="733559" y="1566298"/>
                </a:cubicBezTo>
                <a:close/>
                <a:moveTo>
                  <a:pt x="625709" y="1566298"/>
                </a:moveTo>
                <a:cubicBezTo>
                  <a:pt x="614734" y="1566298"/>
                  <a:pt x="605802" y="1575205"/>
                  <a:pt x="605802" y="1586150"/>
                </a:cubicBezTo>
                <a:cubicBezTo>
                  <a:pt x="605802" y="1597095"/>
                  <a:pt x="614734" y="1606003"/>
                  <a:pt x="625709" y="1606003"/>
                </a:cubicBezTo>
                <a:cubicBezTo>
                  <a:pt x="630175" y="1606003"/>
                  <a:pt x="634388" y="1604565"/>
                  <a:pt x="637904" y="1601849"/>
                </a:cubicBezTo>
                <a:cubicBezTo>
                  <a:pt x="638886" y="1601091"/>
                  <a:pt x="639060" y="1599685"/>
                  <a:pt x="638300" y="1598706"/>
                </a:cubicBezTo>
                <a:cubicBezTo>
                  <a:pt x="637539" y="1597727"/>
                  <a:pt x="636130" y="1597569"/>
                  <a:pt x="635148" y="1598311"/>
                </a:cubicBezTo>
                <a:cubicBezTo>
                  <a:pt x="632424" y="1600412"/>
                  <a:pt x="629162" y="1601533"/>
                  <a:pt x="625709" y="1601533"/>
                </a:cubicBezTo>
                <a:cubicBezTo>
                  <a:pt x="617965" y="1601533"/>
                  <a:pt x="611535" y="1595816"/>
                  <a:pt x="610458" y="1588393"/>
                </a:cubicBezTo>
                <a:lnTo>
                  <a:pt x="643367" y="1588393"/>
                </a:lnTo>
                <a:cubicBezTo>
                  <a:pt x="644603" y="1588393"/>
                  <a:pt x="645616" y="1587398"/>
                  <a:pt x="645616" y="1586150"/>
                </a:cubicBezTo>
                <a:cubicBezTo>
                  <a:pt x="645616" y="1575205"/>
                  <a:pt x="636684" y="1566298"/>
                  <a:pt x="625709" y="1566298"/>
                </a:cubicBezTo>
                <a:close/>
                <a:moveTo>
                  <a:pt x="526394" y="1566298"/>
                </a:moveTo>
                <a:cubicBezTo>
                  <a:pt x="515419" y="1566298"/>
                  <a:pt x="506487" y="1575205"/>
                  <a:pt x="506487" y="1586150"/>
                </a:cubicBezTo>
                <a:cubicBezTo>
                  <a:pt x="506487" y="1597095"/>
                  <a:pt x="515419" y="1606003"/>
                  <a:pt x="526394" y="1606003"/>
                </a:cubicBezTo>
                <a:cubicBezTo>
                  <a:pt x="531003" y="1606003"/>
                  <a:pt x="535500" y="1604392"/>
                  <a:pt x="539064" y="1601454"/>
                </a:cubicBezTo>
                <a:cubicBezTo>
                  <a:pt x="540014" y="1600664"/>
                  <a:pt x="540157" y="1599259"/>
                  <a:pt x="539365" y="1598295"/>
                </a:cubicBezTo>
                <a:cubicBezTo>
                  <a:pt x="538573" y="1597348"/>
                  <a:pt x="537163" y="1597222"/>
                  <a:pt x="536197" y="1597995"/>
                </a:cubicBezTo>
                <a:cubicBezTo>
                  <a:pt x="533457" y="1600270"/>
                  <a:pt x="529957" y="1601517"/>
                  <a:pt x="526394" y="1601517"/>
                </a:cubicBezTo>
                <a:cubicBezTo>
                  <a:pt x="517890" y="1601517"/>
                  <a:pt x="510969" y="1594600"/>
                  <a:pt x="510969" y="1586135"/>
                </a:cubicBezTo>
                <a:cubicBezTo>
                  <a:pt x="510969" y="1577669"/>
                  <a:pt x="517890" y="1570768"/>
                  <a:pt x="526394" y="1570768"/>
                </a:cubicBezTo>
                <a:cubicBezTo>
                  <a:pt x="529957" y="1570768"/>
                  <a:pt x="533442" y="1572015"/>
                  <a:pt x="536197" y="1574289"/>
                </a:cubicBezTo>
                <a:cubicBezTo>
                  <a:pt x="537163" y="1575079"/>
                  <a:pt x="538573" y="1574953"/>
                  <a:pt x="539365" y="1573989"/>
                </a:cubicBezTo>
                <a:cubicBezTo>
                  <a:pt x="540157" y="1573026"/>
                  <a:pt x="540030" y="1571620"/>
                  <a:pt x="539064" y="1570831"/>
                </a:cubicBezTo>
                <a:cubicBezTo>
                  <a:pt x="535516" y="1567909"/>
                  <a:pt x="531003" y="1566298"/>
                  <a:pt x="526394" y="1566298"/>
                </a:cubicBezTo>
                <a:close/>
                <a:moveTo>
                  <a:pt x="442711" y="1566298"/>
                </a:moveTo>
                <a:cubicBezTo>
                  <a:pt x="431752" y="1566298"/>
                  <a:pt x="422804" y="1575205"/>
                  <a:pt x="422804" y="1586150"/>
                </a:cubicBezTo>
                <a:cubicBezTo>
                  <a:pt x="422804" y="1597095"/>
                  <a:pt x="431736" y="1606003"/>
                  <a:pt x="442711" y="1606003"/>
                </a:cubicBezTo>
                <a:lnTo>
                  <a:pt x="462618" y="1606003"/>
                </a:lnTo>
                <a:lnTo>
                  <a:pt x="462618" y="1586150"/>
                </a:lnTo>
                <a:cubicBezTo>
                  <a:pt x="462618" y="1575205"/>
                  <a:pt x="453670" y="1566298"/>
                  <a:pt x="442711" y="1566298"/>
                </a:cubicBezTo>
                <a:close/>
                <a:moveTo>
                  <a:pt x="939124" y="1566282"/>
                </a:moveTo>
                <a:cubicBezTo>
                  <a:pt x="937889" y="1566282"/>
                  <a:pt x="936875" y="1567277"/>
                  <a:pt x="936875" y="1568525"/>
                </a:cubicBezTo>
                <a:lnTo>
                  <a:pt x="936875" y="1603760"/>
                </a:lnTo>
                <a:cubicBezTo>
                  <a:pt x="936875" y="1604992"/>
                  <a:pt x="937889" y="1606002"/>
                  <a:pt x="939124" y="1606002"/>
                </a:cubicBezTo>
                <a:cubicBezTo>
                  <a:pt x="940359" y="1606002"/>
                  <a:pt x="941357" y="1604992"/>
                  <a:pt x="941357" y="1603760"/>
                </a:cubicBezTo>
                <a:lnTo>
                  <a:pt x="941357" y="1568525"/>
                </a:lnTo>
                <a:cubicBezTo>
                  <a:pt x="941357" y="1567277"/>
                  <a:pt x="940359" y="1566282"/>
                  <a:pt x="939124" y="1566282"/>
                </a:cubicBezTo>
                <a:close/>
                <a:moveTo>
                  <a:pt x="552795" y="1566282"/>
                </a:moveTo>
                <a:cubicBezTo>
                  <a:pt x="551560" y="1566282"/>
                  <a:pt x="550546" y="1567277"/>
                  <a:pt x="550546" y="1568525"/>
                </a:cubicBezTo>
                <a:lnTo>
                  <a:pt x="550546" y="1603760"/>
                </a:lnTo>
                <a:cubicBezTo>
                  <a:pt x="550546" y="1604992"/>
                  <a:pt x="551544" y="1606002"/>
                  <a:pt x="552795" y="1606002"/>
                </a:cubicBezTo>
                <a:cubicBezTo>
                  <a:pt x="554046" y="1606002"/>
                  <a:pt x="555044" y="1604992"/>
                  <a:pt x="555044" y="1603760"/>
                </a:cubicBezTo>
                <a:lnTo>
                  <a:pt x="555044" y="1568525"/>
                </a:lnTo>
                <a:cubicBezTo>
                  <a:pt x="555044" y="1567277"/>
                  <a:pt x="554030" y="1566282"/>
                  <a:pt x="552795" y="1566282"/>
                </a:cubicBezTo>
                <a:close/>
                <a:moveTo>
                  <a:pt x="385049" y="1566282"/>
                </a:moveTo>
                <a:cubicBezTo>
                  <a:pt x="383814" y="1566282"/>
                  <a:pt x="382800" y="1567277"/>
                  <a:pt x="382800" y="1568525"/>
                </a:cubicBezTo>
                <a:lnTo>
                  <a:pt x="382800" y="1603760"/>
                </a:lnTo>
                <a:cubicBezTo>
                  <a:pt x="382800" y="1604992"/>
                  <a:pt x="383814" y="1606002"/>
                  <a:pt x="385049" y="1606002"/>
                </a:cubicBezTo>
                <a:cubicBezTo>
                  <a:pt x="386300" y="1606002"/>
                  <a:pt x="387298" y="1604992"/>
                  <a:pt x="387298" y="1603760"/>
                </a:cubicBezTo>
                <a:lnTo>
                  <a:pt x="387298" y="1568525"/>
                </a:lnTo>
                <a:cubicBezTo>
                  <a:pt x="387298" y="1567277"/>
                  <a:pt x="386284" y="1566282"/>
                  <a:pt x="385049" y="1566282"/>
                </a:cubicBezTo>
                <a:close/>
                <a:moveTo>
                  <a:pt x="353945" y="1566282"/>
                </a:moveTo>
                <a:cubicBezTo>
                  <a:pt x="342970" y="1566282"/>
                  <a:pt x="334038" y="1575189"/>
                  <a:pt x="334038" y="1586134"/>
                </a:cubicBezTo>
                <a:cubicBezTo>
                  <a:pt x="334038" y="1597079"/>
                  <a:pt x="342970" y="1605987"/>
                  <a:pt x="353945" y="1605987"/>
                </a:cubicBezTo>
                <a:cubicBezTo>
                  <a:pt x="360137" y="1605987"/>
                  <a:pt x="365696" y="1603144"/>
                  <a:pt x="369355" y="1598690"/>
                </a:cubicBezTo>
                <a:lnTo>
                  <a:pt x="369355" y="1603760"/>
                </a:lnTo>
                <a:cubicBezTo>
                  <a:pt x="369355" y="1612225"/>
                  <a:pt x="362434" y="1619127"/>
                  <a:pt x="353945" y="1619127"/>
                </a:cubicBezTo>
                <a:cubicBezTo>
                  <a:pt x="347769" y="1619127"/>
                  <a:pt x="342210" y="1615479"/>
                  <a:pt x="339771" y="1609824"/>
                </a:cubicBezTo>
                <a:cubicBezTo>
                  <a:pt x="339280" y="1608687"/>
                  <a:pt x="337966" y="1608166"/>
                  <a:pt x="336809" y="1608656"/>
                </a:cubicBezTo>
                <a:cubicBezTo>
                  <a:pt x="335685" y="1609145"/>
                  <a:pt x="335147" y="1610456"/>
                  <a:pt x="335638" y="1611609"/>
                </a:cubicBezTo>
                <a:cubicBezTo>
                  <a:pt x="338789" y="1618906"/>
                  <a:pt x="345963" y="1623628"/>
                  <a:pt x="353945" y="1623628"/>
                </a:cubicBezTo>
                <a:cubicBezTo>
                  <a:pt x="364920" y="1623628"/>
                  <a:pt x="373852" y="1614720"/>
                  <a:pt x="373852" y="1603776"/>
                </a:cubicBezTo>
                <a:lnTo>
                  <a:pt x="373852" y="1586150"/>
                </a:lnTo>
                <a:cubicBezTo>
                  <a:pt x="373852" y="1575205"/>
                  <a:pt x="364920" y="1566298"/>
                  <a:pt x="353945" y="1566298"/>
                </a:cubicBezTo>
                <a:close/>
                <a:moveTo>
                  <a:pt x="322540" y="1566282"/>
                </a:moveTo>
                <a:cubicBezTo>
                  <a:pt x="321305" y="1566282"/>
                  <a:pt x="320307" y="1567277"/>
                  <a:pt x="320307" y="1568525"/>
                </a:cubicBezTo>
                <a:lnTo>
                  <a:pt x="320307" y="1603760"/>
                </a:lnTo>
                <a:cubicBezTo>
                  <a:pt x="320307" y="1604992"/>
                  <a:pt x="321305" y="1606002"/>
                  <a:pt x="322540" y="1606002"/>
                </a:cubicBezTo>
                <a:cubicBezTo>
                  <a:pt x="323791" y="1606002"/>
                  <a:pt x="324789" y="1604992"/>
                  <a:pt x="324789" y="1603760"/>
                </a:cubicBezTo>
                <a:lnTo>
                  <a:pt x="324789" y="1568525"/>
                </a:lnTo>
                <a:cubicBezTo>
                  <a:pt x="324789" y="1567277"/>
                  <a:pt x="323775" y="1566282"/>
                  <a:pt x="322540" y="1566282"/>
                </a:cubicBezTo>
                <a:close/>
                <a:moveTo>
                  <a:pt x="795466" y="1566266"/>
                </a:moveTo>
                <a:cubicBezTo>
                  <a:pt x="791190" y="1566266"/>
                  <a:pt x="787310" y="1568019"/>
                  <a:pt x="784507" y="1570830"/>
                </a:cubicBezTo>
                <a:lnTo>
                  <a:pt x="784507" y="1568556"/>
                </a:lnTo>
                <a:cubicBezTo>
                  <a:pt x="784507" y="1567308"/>
                  <a:pt x="783509" y="1566313"/>
                  <a:pt x="782258" y="1566313"/>
                </a:cubicBezTo>
                <a:lnTo>
                  <a:pt x="780009" y="1566313"/>
                </a:lnTo>
                <a:lnTo>
                  <a:pt x="780009" y="1568556"/>
                </a:lnTo>
                <a:lnTo>
                  <a:pt x="780009" y="1603760"/>
                </a:lnTo>
                <a:cubicBezTo>
                  <a:pt x="780009" y="1604991"/>
                  <a:pt x="781023" y="1606002"/>
                  <a:pt x="782258" y="1606002"/>
                </a:cubicBezTo>
                <a:cubicBezTo>
                  <a:pt x="783493" y="1606002"/>
                  <a:pt x="784507" y="1604991"/>
                  <a:pt x="784507" y="1603760"/>
                </a:cubicBezTo>
                <a:lnTo>
                  <a:pt x="784507" y="1581696"/>
                </a:lnTo>
                <a:cubicBezTo>
                  <a:pt x="784507" y="1575663"/>
                  <a:pt x="789416" y="1570767"/>
                  <a:pt x="795466" y="1570767"/>
                </a:cubicBezTo>
                <a:cubicBezTo>
                  <a:pt x="801516" y="1570767"/>
                  <a:pt x="806425" y="1575679"/>
                  <a:pt x="806425" y="1581696"/>
                </a:cubicBezTo>
                <a:lnTo>
                  <a:pt x="806425" y="1603760"/>
                </a:lnTo>
                <a:cubicBezTo>
                  <a:pt x="806425" y="1604991"/>
                  <a:pt x="807439" y="1606002"/>
                  <a:pt x="808674" y="1606002"/>
                </a:cubicBezTo>
                <a:cubicBezTo>
                  <a:pt x="809909" y="1606002"/>
                  <a:pt x="810923" y="1604991"/>
                  <a:pt x="810923" y="1603760"/>
                </a:cubicBezTo>
                <a:lnTo>
                  <a:pt x="810923" y="1581696"/>
                </a:lnTo>
                <a:cubicBezTo>
                  <a:pt x="810923" y="1575663"/>
                  <a:pt x="815848" y="1570767"/>
                  <a:pt x="821882" y="1570767"/>
                </a:cubicBezTo>
                <a:cubicBezTo>
                  <a:pt x="827916" y="1570767"/>
                  <a:pt x="832841" y="1575679"/>
                  <a:pt x="832841" y="1581696"/>
                </a:cubicBezTo>
                <a:lnTo>
                  <a:pt x="832841" y="1603760"/>
                </a:lnTo>
                <a:cubicBezTo>
                  <a:pt x="832841" y="1604991"/>
                  <a:pt x="833855" y="1606002"/>
                  <a:pt x="835090" y="1606002"/>
                </a:cubicBezTo>
                <a:cubicBezTo>
                  <a:pt x="836326" y="1606002"/>
                  <a:pt x="837339" y="1604991"/>
                  <a:pt x="837339" y="1603760"/>
                </a:cubicBezTo>
                <a:lnTo>
                  <a:pt x="837339" y="1581696"/>
                </a:lnTo>
                <a:cubicBezTo>
                  <a:pt x="837339" y="1577448"/>
                  <a:pt x="835605" y="1573590"/>
                  <a:pt x="832806" y="1570795"/>
                </a:cubicBezTo>
                <a:lnTo>
                  <a:pt x="821892" y="1566270"/>
                </a:lnTo>
                <a:lnTo>
                  <a:pt x="821898" y="1566266"/>
                </a:lnTo>
                <a:lnTo>
                  <a:pt x="821882" y="1566266"/>
                </a:lnTo>
                <a:lnTo>
                  <a:pt x="821892" y="1566270"/>
                </a:lnTo>
                <a:lnTo>
                  <a:pt x="808690" y="1573720"/>
                </a:lnTo>
                <a:cubicBezTo>
                  <a:pt x="805982" y="1569267"/>
                  <a:pt x="801072" y="1566266"/>
                  <a:pt x="795466" y="1566266"/>
                </a:cubicBezTo>
                <a:close/>
                <a:moveTo>
                  <a:pt x="666141" y="1566266"/>
                </a:moveTo>
                <a:cubicBezTo>
                  <a:pt x="661849" y="1566266"/>
                  <a:pt x="657985" y="1568019"/>
                  <a:pt x="655182" y="1570830"/>
                </a:cubicBezTo>
                <a:lnTo>
                  <a:pt x="655182" y="1568556"/>
                </a:lnTo>
                <a:cubicBezTo>
                  <a:pt x="655182" y="1567308"/>
                  <a:pt x="654168" y="1566313"/>
                  <a:pt x="652933" y="1566313"/>
                </a:cubicBezTo>
                <a:lnTo>
                  <a:pt x="650684" y="1566313"/>
                </a:lnTo>
                <a:lnTo>
                  <a:pt x="650684" y="1568556"/>
                </a:lnTo>
                <a:lnTo>
                  <a:pt x="650684" y="1603760"/>
                </a:lnTo>
                <a:cubicBezTo>
                  <a:pt x="650684" y="1604991"/>
                  <a:pt x="651698" y="1606002"/>
                  <a:pt x="652933" y="1606002"/>
                </a:cubicBezTo>
                <a:cubicBezTo>
                  <a:pt x="654168" y="1606002"/>
                  <a:pt x="655182" y="1604991"/>
                  <a:pt x="655182" y="1603760"/>
                </a:cubicBezTo>
                <a:lnTo>
                  <a:pt x="655182" y="1581696"/>
                </a:lnTo>
                <a:cubicBezTo>
                  <a:pt x="655182" y="1575663"/>
                  <a:pt x="660091" y="1570767"/>
                  <a:pt x="666141" y="1570767"/>
                </a:cubicBezTo>
                <a:cubicBezTo>
                  <a:pt x="672191" y="1570767"/>
                  <a:pt x="677100" y="1575679"/>
                  <a:pt x="677100" y="1581696"/>
                </a:cubicBezTo>
                <a:lnTo>
                  <a:pt x="677100" y="1603760"/>
                </a:lnTo>
                <a:cubicBezTo>
                  <a:pt x="677100" y="1604991"/>
                  <a:pt x="678114" y="1606002"/>
                  <a:pt x="679349" y="1606002"/>
                </a:cubicBezTo>
                <a:cubicBezTo>
                  <a:pt x="680584" y="1606002"/>
                  <a:pt x="681598" y="1604991"/>
                  <a:pt x="681598" y="1603760"/>
                </a:cubicBezTo>
                <a:lnTo>
                  <a:pt x="681598" y="1581696"/>
                </a:lnTo>
                <a:cubicBezTo>
                  <a:pt x="681598" y="1575663"/>
                  <a:pt x="686507" y="1570767"/>
                  <a:pt x="692557" y="1570767"/>
                </a:cubicBezTo>
                <a:cubicBezTo>
                  <a:pt x="698607" y="1570767"/>
                  <a:pt x="703516" y="1575679"/>
                  <a:pt x="703516" y="1581696"/>
                </a:cubicBezTo>
                <a:lnTo>
                  <a:pt x="703516" y="1603760"/>
                </a:lnTo>
                <a:cubicBezTo>
                  <a:pt x="703516" y="1604991"/>
                  <a:pt x="704530" y="1606002"/>
                  <a:pt x="705781" y="1606002"/>
                </a:cubicBezTo>
                <a:cubicBezTo>
                  <a:pt x="707032" y="1606002"/>
                  <a:pt x="708014" y="1604991"/>
                  <a:pt x="708014" y="1603760"/>
                </a:cubicBezTo>
                <a:lnTo>
                  <a:pt x="708014" y="1581696"/>
                </a:lnTo>
                <a:cubicBezTo>
                  <a:pt x="708014" y="1573199"/>
                  <a:pt x="701078" y="1566266"/>
                  <a:pt x="692557" y="1566266"/>
                </a:cubicBezTo>
                <a:cubicBezTo>
                  <a:pt x="686967" y="1566266"/>
                  <a:pt x="682073" y="1569267"/>
                  <a:pt x="679349" y="1573720"/>
                </a:cubicBezTo>
                <a:cubicBezTo>
                  <a:pt x="676641" y="1569267"/>
                  <a:pt x="671731" y="1566266"/>
                  <a:pt x="666141" y="1566266"/>
                </a:cubicBezTo>
                <a:close/>
                <a:moveTo>
                  <a:pt x="936875" y="1554247"/>
                </a:moveTo>
                <a:lnTo>
                  <a:pt x="936875" y="1556490"/>
                </a:lnTo>
                <a:cubicBezTo>
                  <a:pt x="936875" y="1557722"/>
                  <a:pt x="937889" y="1558732"/>
                  <a:pt x="939124" y="1558732"/>
                </a:cubicBezTo>
                <a:cubicBezTo>
                  <a:pt x="940359" y="1558732"/>
                  <a:pt x="941357" y="1557722"/>
                  <a:pt x="941357" y="1556490"/>
                </a:cubicBezTo>
                <a:cubicBezTo>
                  <a:pt x="941357" y="1555258"/>
                  <a:pt x="940359" y="1554247"/>
                  <a:pt x="939124" y="1554247"/>
                </a:cubicBezTo>
                <a:close/>
                <a:moveTo>
                  <a:pt x="550546" y="1554247"/>
                </a:moveTo>
                <a:lnTo>
                  <a:pt x="550546" y="1556490"/>
                </a:lnTo>
                <a:cubicBezTo>
                  <a:pt x="550546" y="1557722"/>
                  <a:pt x="551560" y="1558732"/>
                  <a:pt x="552795" y="1558732"/>
                </a:cubicBezTo>
                <a:cubicBezTo>
                  <a:pt x="554030" y="1558732"/>
                  <a:pt x="555044" y="1557722"/>
                  <a:pt x="555044" y="1556490"/>
                </a:cubicBezTo>
                <a:cubicBezTo>
                  <a:pt x="555044" y="1555258"/>
                  <a:pt x="554030" y="1554247"/>
                  <a:pt x="552795" y="1554247"/>
                </a:cubicBezTo>
                <a:close/>
                <a:moveTo>
                  <a:pt x="382800" y="1554247"/>
                </a:moveTo>
                <a:lnTo>
                  <a:pt x="382800" y="1556490"/>
                </a:lnTo>
                <a:cubicBezTo>
                  <a:pt x="382800" y="1557722"/>
                  <a:pt x="383814" y="1558732"/>
                  <a:pt x="385049" y="1558732"/>
                </a:cubicBezTo>
                <a:cubicBezTo>
                  <a:pt x="386284" y="1558732"/>
                  <a:pt x="387298" y="1557722"/>
                  <a:pt x="387298" y="1556490"/>
                </a:cubicBezTo>
                <a:cubicBezTo>
                  <a:pt x="387298" y="1555258"/>
                  <a:pt x="386300" y="1554247"/>
                  <a:pt x="385049" y="1554247"/>
                </a:cubicBezTo>
                <a:close/>
                <a:moveTo>
                  <a:pt x="320291" y="1554247"/>
                </a:moveTo>
                <a:lnTo>
                  <a:pt x="320291" y="1556490"/>
                </a:lnTo>
                <a:cubicBezTo>
                  <a:pt x="320291" y="1557722"/>
                  <a:pt x="321305" y="1558732"/>
                  <a:pt x="322540" y="1558732"/>
                </a:cubicBezTo>
                <a:cubicBezTo>
                  <a:pt x="323775" y="1558732"/>
                  <a:pt x="324773" y="1557722"/>
                  <a:pt x="324773" y="1556490"/>
                </a:cubicBezTo>
                <a:cubicBezTo>
                  <a:pt x="324773" y="1555258"/>
                  <a:pt x="323775" y="1554247"/>
                  <a:pt x="322540" y="1554247"/>
                </a:cubicBezTo>
                <a:close/>
                <a:moveTo>
                  <a:pt x="925773" y="1549493"/>
                </a:moveTo>
                <a:cubicBezTo>
                  <a:pt x="924538" y="1549493"/>
                  <a:pt x="923524" y="1550488"/>
                  <a:pt x="923524" y="1551736"/>
                </a:cubicBezTo>
                <a:lnTo>
                  <a:pt x="923524" y="1573594"/>
                </a:lnTo>
                <a:cubicBezTo>
                  <a:pt x="919866" y="1569140"/>
                  <a:pt x="914307" y="1566297"/>
                  <a:pt x="908099" y="1566297"/>
                </a:cubicBezTo>
                <a:cubicBezTo>
                  <a:pt x="897124" y="1566297"/>
                  <a:pt x="888192" y="1575205"/>
                  <a:pt x="888192" y="1586150"/>
                </a:cubicBezTo>
                <a:cubicBezTo>
                  <a:pt x="888192" y="1597094"/>
                  <a:pt x="897124" y="1606002"/>
                  <a:pt x="908099" y="1606002"/>
                </a:cubicBezTo>
                <a:lnTo>
                  <a:pt x="928022" y="1606002"/>
                </a:lnTo>
                <a:lnTo>
                  <a:pt x="928022" y="1551736"/>
                </a:lnTo>
                <a:cubicBezTo>
                  <a:pt x="928022" y="1550488"/>
                  <a:pt x="927009" y="1549493"/>
                  <a:pt x="925773" y="1549493"/>
                </a:cubicBezTo>
                <a:close/>
                <a:moveTo>
                  <a:pt x="470759" y="1549493"/>
                </a:moveTo>
                <a:cubicBezTo>
                  <a:pt x="469524" y="1549493"/>
                  <a:pt x="468510" y="1550488"/>
                  <a:pt x="468510" y="1551736"/>
                </a:cubicBezTo>
                <a:lnTo>
                  <a:pt x="468510" y="1600332"/>
                </a:lnTo>
                <a:cubicBezTo>
                  <a:pt x="468510" y="1603459"/>
                  <a:pt x="471060" y="1606002"/>
                  <a:pt x="474195" y="1606002"/>
                </a:cubicBezTo>
                <a:cubicBezTo>
                  <a:pt x="475447" y="1606002"/>
                  <a:pt x="476444" y="1605007"/>
                  <a:pt x="476444" y="1603759"/>
                </a:cubicBezTo>
                <a:cubicBezTo>
                  <a:pt x="476444" y="1602511"/>
                  <a:pt x="475447" y="1601517"/>
                  <a:pt x="474195" y="1601517"/>
                </a:cubicBezTo>
                <a:cubicBezTo>
                  <a:pt x="473546" y="1601517"/>
                  <a:pt x="473008" y="1600995"/>
                  <a:pt x="473008" y="1600332"/>
                </a:cubicBezTo>
                <a:lnTo>
                  <a:pt x="473008" y="1551736"/>
                </a:lnTo>
                <a:cubicBezTo>
                  <a:pt x="473008" y="1550488"/>
                  <a:pt x="471994" y="1549493"/>
                  <a:pt x="470759" y="1549493"/>
                </a:cubicBezTo>
                <a:close/>
                <a:moveTo>
                  <a:pt x="404687" y="1549478"/>
                </a:moveTo>
                <a:cubicBezTo>
                  <a:pt x="403452" y="1549478"/>
                  <a:pt x="402438" y="1550473"/>
                  <a:pt x="402438" y="1551721"/>
                </a:cubicBezTo>
                <a:lnTo>
                  <a:pt x="402438" y="1566282"/>
                </a:lnTo>
                <a:lnTo>
                  <a:pt x="398669" y="1566282"/>
                </a:lnTo>
                <a:cubicBezTo>
                  <a:pt x="397434" y="1566282"/>
                  <a:pt x="396420" y="1567277"/>
                  <a:pt x="396420" y="1568525"/>
                </a:cubicBezTo>
                <a:cubicBezTo>
                  <a:pt x="396420" y="1569773"/>
                  <a:pt x="397434" y="1570768"/>
                  <a:pt x="398669" y="1570768"/>
                </a:cubicBezTo>
                <a:lnTo>
                  <a:pt x="402438" y="1570768"/>
                </a:lnTo>
                <a:lnTo>
                  <a:pt x="402438" y="1594079"/>
                </a:lnTo>
                <a:cubicBezTo>
                  <a:pt x="402438" y="1600649"/>
                  <a:pt x="407791" y="1605987"/>
                  <a:pt x="414379" y="1605987"/>
                </a:cubicBezTo>
                <a:cubicBezTo>
                  <a:pt x="415282" y="1605987"/>
                  <a:pt x="416169" y="1605892"/>
                  <a:pt x="417040" y="1605687"/>
                </a:cubicBezTo>
                <a:lnTo>
                  <a:pt x="418727" y="1603014"/>
                </a:lnTo>
                <a:lnTo>
                  <a:pt x="418734" y="1603018"/>
                </a:lnTo>
                <a:lnTo>
                  <a:pt x="418734" y="1603002"/>
                </a:lnTo>
                <a:lnTo>
                  <a:pt x="418727" y="1603014"/>
                </a:lnTo>
                <a:lnTo>
                  <a:pt x="416042" y="1601328"/>
                </a:lnTo>
                <a:cubicBezTo>
                  <a:pt x="415504" y="1601454"/>
                  <a:pt x="414949" y="1601517"/>
                  <a:pt x="414379" y="1601517"/>
                </a:cubicBezTo>
                <a:cubicBezTo>
                  <a:pt x="410277" y="1601517"/>
                  <a:pt x="406936" y="1598185"/>
                  <a:pt x="406936" y="1594079"/>
                </a:cubicBezTo>
                <a:lnTo>
                  <a:pt x="406936" y="1570768"/>
                </a:lnTo>
                <a:lnTo>
                  <a:pt x="413271" y="1570768"/>
                </a:lnTo>
                <a:cubicBezTo>
                  <a:pt x="414522" y="1570768"/>
                  <a:pt x="415519" y="1569757"/>
                  <a:pt x="415519" y="1568525"/>
                </a:cubicBezTo>
                <a:cubicBezTo>
                  <a:pt x="415519" y="1567293"/>
                  <a:pt x="414522" y="1566282"/>
                  <a:pt x="413271" y="1566282"/>
                </a:cubicBezTo>
                <a:lnTo>
                  <a:pt x="406936" y="1566282"/>
                </a:lnTo>
                <a:lnTo>
                  <a:pt x="406936" y="1551721"/>
                </a:lnTo>
                <a:cubicBezTo>
                  <a:pt x="406936" y="1550473"/>
                  <a:pt x="405922" y="1549478"/>
                  <a:pt x="404687" y="1549478"/>
                </a:cubicBezTo>
                <a:close/>
                <a:moveTo>
                  <a:pt x="309237" y="1549478"/>
                </a:moveTo>
                <a:cubicBezTo>
                  <a:pt x="308002" y="1549478"/>
                  <a:pt x="306989" y="1550473"/>
                  <a:pt x="306989" y="1551721"/>
                </a:cubicBezTo>
                <a:lnTo>
                  <a:pt x="306989" y="1573579"/>
                </a:lnTo>
                <a:cubicBezTo>
                  <a:pt x="303346" y="1569125"/>
                  <a:pt x="297787" y="1566282"/>
                  <a:pt x="291579" y="1566282"/>
                </a:cubicBezTo>
                <a:cubicBezTo>
                  <a:pt x="280604" y="1566282"/>
                  <a:pt x="271672" y="1575174"/>
                  <a:pt x="271672" y="1586135"/>
                </a:cubicBezTo>
                <a:cubicBezTo>
                  <a:pt x="271672" y="1597095"/>
                  <a:pt x="280604" y="1606003"/>
                  <a:pt x="291579" y="1606003"/>
                </a:cubicBezTo>
                <a:lnTo>
                  <a:pt x="311486" y="1606003"/>
                </a:lnTo>
                <a:lnTo>
                  <a:pt x="311486" y="1605987"/>
                </a:lnTo>
                <a:lnTo>
                  <a:pt x="311486" y="1551721"/>
                </a:lnTo>
                <a:cubicBezTo>
                  <a:pt x="311486" y="1550473"/>
                  <a:pt x="310473" y="1549478"/>
                  <a:pt x="309237" y="1549478"/>
                </a:cubicBezTo>
                <a:close/>
                <a:moveTo>
                  <a:pt x="546849" y="1444586"/>
                </a:moveTo>
                <a:lnTo>
                  <a:pt x="546857" y="1444626"/>
                </a:lnTo>
                <a:lnTo>
                  <a:pt x="546849" y="1444666"/>
                </a:lnTo>
                <a:lnTo>
                  <a:pt x="546841" y="1444626"/>
                </a:lnTo>
                <a:close/>
                <a:moveTo>
                  <a:pt x="271672" y="1374724"/>
                </a:moveTo>
                <a:lnTo>
                  <a:pt x="271672" y="1444626"/>
                </a:lnTo>
                <a:cubicBezTo>
                  <a:pt x="271672" y="1483241"/>
                  <a:pt x="302475" y="1514543"/>
                  <a:pt x="340468" y="1514543"/>
                </a:cubicBezTo>
                <a:cubicBezTo>
                  <a:pt x="378461" y="1514543"/>
                  <a:pt x="409264" y="1483256"/>
                  <a:pt x="409264" y="1444626"/>
                </a:cubicBezTo>
                <a:cubicBezTo>
                  <a:pt x="409264" y="1483241"/>
                  <a:pt x="440067" y="1514543"/>
                  <a:pt x="478060" y="1514543"/>
                </a:cubicBezTo>
                <a:cubicBezTo>
                  <a:pt x="506555" y="1514543"/>
                  <a:pt x="531006" y="1496944"/>
                  <a:pt x="541451" y="1471848"/>
                </a:cubicBezTo>
                <a:lnTo>
                  <a:pt x="546849" y="1444666"/>
                </a:lnTo>
                <a:lnTo>
                  <a:pt x="552246" y="1471841"/>
                </a:lnTo>
                <a:cubicBezTo>
                  <a:pt x="562686" y="1496936"/>
                  <a:pt x="587131" y="1514543"/>
                  <a:pt x="615637" y="1514543"/>
                </a:cubicBezTo>
                <a:cubicBezTo>
                  <a:pt x="628180" y="1514543"/>
                  <a:pt x="639931" y="1511132"/>
                  <a:pt x="650035" y="1505178"/>
                </a:cubicBezTo>
                <a:cubicBezTo>
                  <a:pt x="660171" y="1511132"/>
                  <a:pt x="671906" y="1514543"/>
                  <a:pt x="684433" y="1514543"/>
                </a:cubicBezTo>
                <a:cubicBezTo>
                  <a:pt x="722426" y="1514543"/>
                  <a:pt x="753229" y="1483256"/>
                  <a:pt x="753229" y="1444626"/>
                </a:cubicBezTo>
                <a:cubicBezTo>
                  <a:pt x="753229" y="1405995"/>
                  <a:pt x="722442" y="1374724"/>
                  <a:pt x="684449" y="1374724"/>
                </a:cubicBezTo>
                <a:cubicBezTo>
                  <a:pt x="671922" y="1374724"/>
                  <a:pt x="660186" y="1378120"/>
                  <a:pt x="650051" y="1384074"/>
                </a:cubicBezTo>
                <a:lnTo>
                  <a:pt x="650035" y="1384074"/>
                </a:lnTo>
                <a:cubicBezTo>
                  <a:pt x="639931" y="1378135"/>
                  <a:pt x="628180" y="1374724"/>
                  <a:pt x="615637" y="1374724"/>
                </a:cubicBezTo>
                <a:cubicBezTo>
                  <a:pt x="587131" y="1374724"/>
                  <a:pt x="562686" y="1392323"/>
                  <a:pt x="552246" y="1417413"/>
                </a:cubicBezTo>
                <a:lnTo>
                  <a:pt x="546849" y="1444586"/>
                </a:lnTo>
                <a:lnTo>
                  <a:pt x="541448" y="1417406"/>
                </a:lnTo>
                <a:cubicBezTo>
                  <a:pt x="531000" y="1392314"/>
                  <a:pt x="506544" y="1374724"/>
                  <a:pt x="478060" y="1374724"/>
                </a:cubicBezTo>
                <a:cubicBezTo>
                  <a:pt x="440083" y="1374724"/>
                  <a:pt x="409264" y="1406011"/>
                  <a:pt x="409264" y="1444626"/>
                </a:cubicBezTo>
                <a:cubicBezTo>
                  <a:pt x="409264" y="1405995"/>
                  <a:pt x="378461" y="1374724"/>
                  <a:pt x="340468" y="1374724"/>
                </a:cubicBezTo>
                <a:close/>
                <a:moveTo>
                  <a:pt x="0" y="0"/>
                </a:moveTo>
                <a:lnTo>
                  <a:pt x="2286000" y="0"/>
                </a:lnTo>
                <a:lnTo>
                  <a:pt x="2286000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071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rgeImage_4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4DD5A4-E864-95B0-9112-46B4CE43C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07E243-E4F1-3C5A-AF7B-05F43CE46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654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ta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52F4EF4D-DCF5-A0F2-3B84-00BEE7572CB9}"/>
              </a:ext>
            </a:extLst>
          </p:cNvPr>
          <p:cNvSpPr/>
          <p:nvPr userDrawn="1"/>
        </p:nvSpPr>
        <p:spPr>
          <a:xfrm>
            <a:off x="4564566" y="-2225"/>
            <a:ext cx="4579434" cy="51457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B2D4385-C92F-E3E9-2AE2-027413477D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57677F9-D4C8-A82C-60D8-8578A0A63E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387C96F-BD13-F103-3987-C5439742B5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85556"/>
            <a:ext cx="3835082" cy="19078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557E45A-CF7E-D84C-5F71-881B1DB90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7056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FC0D9E4-86E6-00FC-D877-ABA55C44EF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7F5A4C74-9345-98C5-974A-AFDC8139AE3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9661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AEE273AA-F097-B60E-F7B5-1B0456F942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91862"/>
            <a:ext cx="3835082" cy="19015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5F8043A8-1B71-42FD-F790-9D73915A5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A0F7F1-84F1-7498-1F8F-C6BB50E390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73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+LargeSta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FCF04E22-0CBD-D40B-6B36-4596EC7C5C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03BB3F0-03F1-9023-9148-1F4F5C8C9C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8A465E7-A785-4835-F787-6F9AAD3C654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3127756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200"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4A8688D-72E5-0CA7-02C2-8997BE6BC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063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rgeQuo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7E2977C-1B2F-13CD-A58E-5D82747C66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D06693-3365-91ED-0D42-E27C534A27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0358C42-953B-3FA0-09ED-14D4E6C589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0278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igQuote_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712EC0-A977-6DCF-7396-8F38D39830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425513"/>
            <a:ext cx="8137525" cy="4090925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6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E31D916-46CB-8655-1ADF-8F9A10DEC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4587226-046A-65B5-E4DA-CF1D6D187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219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latin typeface="Impact" panose="020B0806030902050204" pitchFamily="34" charset="0"/>
              </a:defRPr>
            </a:lvl1pPr>
            <a:lvl2pPr>
              <a:defRPr sz="2200" cap="all" baseline="0">
                <a:latin typeface="Impact" panose="020B0806030902050204" pitchFamily="34" charset="0"/>
              </a:defRPr>
            </a:lvl2pPr>
            <a:lvl3pPr>
              <a:defRPr sz="2200" cap="all" baseline="0">
                <a:latin typeface="Impact" panose="020B0806030902050204" pitchFamily="34" charset="0"/>
              </a:defRPr>
            </a:lvl3pPr>
            <a:lvl4pPr>
              <a:defRPr sz="2200" cap="all" baseline="0">
                <a:latin typeface="Impact" panose="020B0806030902050204" pitchFamily="34" charset="0"/>
              </a:defRPr>
            </a:lvl4pPr>
            <a:lvl5pPr>
              <a:defRPr sz="2200" cap="all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846AACF-5EFC-437F-1643-A77CC2C6B5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293D67-C6D5-C96E-5FC0-8389FB2A8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907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+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BA4290-DDAB-D9AB-4E7C-3A88E27269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3741A86-EBCB-C78E-12BF-4D8B298DE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70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oundel_Over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AF9AE78-CD29-AE4C-C9E0-F1E2115F68F2}"/>
              </a:ext>
            </a:extLst>
          </p:cNvPr>
          <p:cNvSpPr/>
          <p:nvPr userDrawn="1"/>
        </p:nvSpPr>
        <p:spPr>
          <a:xfrm>
            <a:off x="4965895" y="0"/>
            <a:ext cx="4178105" cy="392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94FF93-5779-3AC9-0C4E-37BCBE41E19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5543948 w 9144000"/>
              <a:gd name="connsiteY307" fmla="*/ 0 h 5143498"/>
              <a:gd name="connsiteX308" fmla="*/ 5462304 w 9144000"/>
              <a:gd name="connsiteY308" fmla="*/ 169482 h 5143498"/>
              <a:gd name="connsiteX309" fmla="*/ 5297213 w 9144000"/>
              <a:gd name="connsiteY309" fmla="*/ 987206 h 5143498"/>
              <a:gd name="connsiteX310" fmla="*/ 7398008 w 9144000"/>
              <a:gd name="connsiteY310" fmla="*/ 3088000 h 5143498"/>
              <a:gd name="connsiteX311" fmla="*/ 9140019 w 9144000"/>
              <a:gd name="connsiteY311" fmla="*/ 2161780 h 5143498"/>
              <a:gd name="connsiteX312" fmla="*/ 9144000 w 9144000"/>
              <a:gd name="connsiteY312" fmla="*/ 2155228 h 5143498"/>
              <a:gd name="connsiteX313" fmla="*/ 9144000 w 9144000"/>
              <a:gd name="connsiteY313" fmla="*/ 5143498 h 5143498"/>
              <a:gd name="connsiteX314" fmla="*/ 0 w 9144000"/>
              <a:gd name="connsiteY314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5543948" y="0"/>
                </a:lnTo>
                <a:lnTo>
                  <a:pt x="5462304" y="169482"/>
                </a:lnTo>
                <a:cubicBezTo>
                  <a:pt x="5355998" y="420818"/>
                  <a:pt x="5297213" y="697147"/>
                  <a:pt x="5297213" y="987206"/>
                </a:cubicBezTo>
                <a:cubicBezTo>
                  <a:pt x="5297213" y="2147442"/>
                  <a:pt x="6237771" y="3088000"/>
                  <a:pt x="7398008" y="3088000"/>
                </a:cubicBezTo>
                <a:cubicBezTo>
                  <a:pt x="8123156" y="3088000"/>
                  <a:pt x="8762492" y="2720595"/>
                  <a:pt x="9140019" y="2161780"/>
                </a:cubicBezTo>
                <a:lnTo>
                  <a:pt x="9144000" y="2155228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BD631F9-2D83-B935-8052-F01123FE1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1165" y="520504"/>
            <a:ext cx="2985550" cy="1927275"/>
          </a:xfrm>
        </p:spPr>
        <p:txBody>
          <a:bodyPr rIns="0" anchor="ctr" anchorCtr="0"/>
          <a:lstStyle>
            <a:lvl1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522A22-9C12-3F72-C0CD-DE7AA25F5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345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pen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CF6122-F54A-73C5-7792-6A329D04B0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C6B11F9-63CE-10CF-BF59-57D860F403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5221" y="0"/>
            <a:ext cx="5823400" cy="5143500"/>
          </a:xfrm>
          <a:custGeom>
            <a:avLst/>
            <a:gdLst>
              <a:gd name="connsiteX0" fmla="*/ 1581218 w 5823400"/>
              <a:gd name="connsiteY0" fmla="*/ 0 h 5163475"/>
              <a:gd name="connsiteX1" fmla="*/ 4242183 w 5823400"/>
              <a:gd name="connsiteY1" fmla="*/ 0 h 5163475"/>
              <a:gd name="connsiteX2" fmla="*/ 4299590 w 5823400"/>
              <a:gd name="connsiteY2" fmla="*/ 27661 h 5163475"/>
              <a:gd name="connsiteX3" fmla="*/ 5823400 w 5823400"/>
              <a:gd name="connsiteY3" fmla="*/ 2588550 h 5163475"/>
              <a:gd name="connsiteX4" fmla="*/ 4299590 w 5823400"/>
              <a:gd name="connsiteY4" fmla="*/ 5149439 h 5163475"/>
              <a:gd name="connsiteX5" fmla="*/ 4270460 w 5823400"/>
              <a:gd name="connsiteY5" fmla="*/ 5163475 h 5163475"/>
              <a:gd name="connsiteX6" fmla="*/ 1552941 w 5823400"/>
              <a:gd name="connsiteY6" fmla="*/ 5163475 h 5163475"/>
              <a:gd name="connsiteX7" fmla="*/ 1523811 w 5823400"/>
              <a:gd name="connsiteY7" fmla="*/ 5149439 h 5163475"/>
              <a:gd name="connsiteX8" fmla="*/ 0 w 5823400"/>
              <a:gd name="connsiteY8" fmla="*/ 2588550 h 5163475"/>
              <a:gd name="connsiteX9" fmla="*/ 1523811 w 5823400"/>
              <a:gd name="connsiteY9" fmla="*/ 27661 h 51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23400" h="5163475">
                <a:moveTo>
                  <a:pt x="1581218" y="0"/>
                </a:moveTo>
                <a:lnTo>
                  <a:pt x="4242183" y="0"/>
                </a:lnTo>
                <a:lnTo>
                  <a:pt x="4299590" y="27661"/>
                </a:lnTo>
                <a:cubicBezTo>
                  <a:pt x="5207240" y="520845"/>
                  <a:pt x="5823400" y="1482724"/>
                  <a:pt x="5823400" y="2588550"/>
                </a:cubicBezTo>
                <a:cubicBezTo>
                  <a:pt x="5823400" y="3694376"/>
                  <a:pt x="5207240" y="4656256"/>
                  <a:pt x="4299590" y="5149439"/>
                </a:cubicBezTo>
                <a:lnTo>
                  <a:pt x="4270460" y="5163475"/>
                </a:lnTo>
                <a:lnTo>
                  <a:pt x="1552941" y="5163475"/>
                </a:lnTo>
                <a:lnTo>
                  <a:pt x="1523811" y="5149439"/>
                </a:lnTo>
                <a:cubicBezTo>
                  <a:pt x="616161" y="4656256"/>
                  <a:pt x="0" y="3694376"/>
                  <a:pt x="0" y="2588550"/>
                </a:cubicBezTo>
                <a:cubicBezTo>
                  <a:pt x="0" y="1482724"/>
                  <a:pt x="616161" y="520845"/>
                  <a:pt x="1523811" y="27661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3" name="Text Placeholder 93">
            <a:extLst>
              <a:ext uri="{FF2B5EF4-FFF2-40B4-BE49-F238E27FC236}">
                <a16:creationId xmlns:a16="http://schemas.microsoft.com/office/drawing/2014/main" id="{C77C1379-81C0-A729-E43E-4E73395DF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0578" y="1794139"/>
            <a:ext cx="4962843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54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24" name="Text Placeholder 97">
            <a:extLst>
              <a:ext uri="{FF2B5EF4-FFF2-40B4-BE49-F238E27FC236}">
                <a16:creationId xmlns:a16="http://schemas.microsoft.com/office/drawing/2014/main" id="{E2D184C6-A7FE-90FB-5B07-DCD5545D9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9789" y="4075376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1A05B946-3EB3-0AB1-B0DE-9E144297A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2373" y="3360664"/>
            <a:ext cx="4213225" cy="4413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400" dirty="0">
                <a:solidFill>
                  <a:schemeClr val="bg1"/>
                </a:solidFill>
              </a:rPr>
              <a:t>Subheading over up to two lines – make the circle a bit darker in transparency if the picture is busy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8B6503-F8C7-9DAE-1A90-CBCE32FC23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7239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4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571;p39">
            <a:extLst>
              <a:ext uri="{FF2B5EF4-FFF2-40B4-BE49-F238E27FC236}">
                <a16:creationId xmlns:a16="http://schemas.microsoft.com/office/drawing/2014/main" id="{338F61A9-8604-FF2B-2690-75C267126CC9}"/>
              </a:ext>
            </a:extLst>
          </p:cNvPr>
          <p:cNvCxnSpPr>
            <a:cxnSpLocks/>
          </p:cNvCxnSpPr>
          <p:nvPr userDrawn="1"/>
        </p:nvCxnSpPr>
        <p:spPr>
          <a:xfrm>
            <a:off x="24114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AFAA7586-29B7-719F-7206-3292393601CE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DC56738-4DDA-7701-4E3F-E78521046EE9}"/>
              </a:ext>
            </a:extLst>
          </p:cNvPr>
          <p:cNvCxnSpPr>
            <a:cxnSpLocks/>
          </p:cNvCxnSpPr>
          <p:nvPr userDrawn="1"/>
        </p:nvCxnSpPr>
        <p:spPr>
          <a:xfrm>
            <a:off x="67231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6D5AE108-6F28-EC1F-FE42-758114BE33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9" name="Google Shape;27;p5">
            <a:extLst>
              <a:ext uri="{FF2B5EF4-FFF2-40B4-BE49-F238E27FC236}">
                <a16:creationId xmlns:a16="http://schemas.microsoft.com/office/drawing/2014/main" id="{84E518F8-242F-09D1-5F7F-39F5CDB562B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Google Shape;28;p5">
            <a:extLst>
              <a:ext uri="{FF2B5EF4-FFF2-40B4-BE49-F238E27FC236}">
                <a16:creationId xmlns:a16="http://schemas.microsoft.com/office/drawing/2014/main" id="{9AA98D9E-E978-3478-ED4D-FFAD373EB2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43B714-91A2-F4FF-EB6E-6EC25FDA19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492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D50328F-E9FA-887D-69B4-7E956320E1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7492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8C1AA7D-A8A4-E645-56E7-B867664C01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01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0E4378A-436D-2CAF-C3C6-75735F9CD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01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267CA48-DD7B-4256-595D-B552090A9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9639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A32E9F3-B590-FB6C-5625-C0677918C0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639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6AD193F-C540-F6C8-FDAC-B75F649365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1321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32665183-607D-4780-0CBD-7B1D82E60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321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6C0C216-7D47-8570-D452-79EEC36BC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264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3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D76B4FCA-9EF0-C98F-4964-DE045645DD2A}"/>
              </a:ext>
            </a:extLst>
          </p:cNvPr>
          <p:cNvCxnSpPr>
            <a:cxnSpLocks/>
          </p:cNvCxnSpPr>
          <p:nvPr userDrawn="1"/>
        </p:nvCxnSpPr>
        <p:spPr>
          <a:xfrm>
            <a:off x="3007296" y="1362893"/>
            <a:ext cx="0" cy="272971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1;p39">
            <a:extLst>
              <a:ext uri="{FF2B5EF4-FFF2-40B4-BE49-F238E27FC236}">
                <a16:creationId xmlns:a16="http://schemas.microsoft.com/office/drawing/2014/main" id="{0CCE3C01-C349-40A8-9A54-EC89E3FFCBDF}"/>
              </a:ext>
            </a:extLst>
          </p:cNvPr>
          <p:cNvCxnSpPr>
            <a:cxnSpLocks/>
          </p:cNvCxnSpPr>
          <p:nvPr userDrawn="1"/>
        </p:nvCxnSpPr>
        <p:spPr>
          <a:xfrm>
            <a:off x="5802515" y="1270000"/>
            <a:ext cx="0" cy="282260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" name="Picture 1">
            <a:extLst>
              <a:ext uri="{FF2B5EF4-FFF2-40B4-BE49-F238E27FC236}">
                <a16:creationId xmlns:a16="http://schemas.microsoft.com/office/drawing/2014/main" id="{29E79E3D-01B1-641C-EBF2-968773CC8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29D5DC9-5FA2-8F29-5D00-CD1AEC6D91C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2CEFF8FC-E9EC-9E23-94D7-555D13C89C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50"/>
            <a:ext cx="8137525" cy="3991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50728F7-AA21-99D8-F42B-9E1F23AB56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5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945B08A-12EA-5DE3-002B-CF4F534B0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5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AB4052E-4579-88AB-57BB-3DBADA0E6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07553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154D61C-D1B8-DCDA-CA01-D6AC81F1D9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7553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8893D4-5949-CB1D-79D7-3659D67D4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2956" y="1334757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1E1D236-CF92-D00C-37FB-82A309F29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2956" y="1883396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D30B18F-AB85-4811-DF87-F75D1FC74A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6476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s_8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98B0537-9808-FF48-6285-98D11B34DB52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1168715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1170006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117902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7F5F90E-AF98-7849-A72A-30D87ACFD884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1185858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19FF9F-759D-78F5-1658-091538CA2824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2793941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2793941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2793941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9E97BD-5FA4-4E77-B42F-152125D825D3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2793941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EA6F22CB-2844-52D3-D4E8-D352CA7651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1011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C8064A2-2638-6F8B-73ED-B00EEAA8CC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011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90997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997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234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234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11CA1657-FD14-EA55-8E0E-6C91CB9EFC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240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DDAC37E7-B899-80A7-7797-540929619E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6240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5EF0EEB-5C37-6DB7-9988-A54B61F3E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A576DBE-EF3D-DD15-3B60-761F29A9E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7547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ullets_4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894363" y="1371999"/>
            <a:ext cx="1352010" cy="13520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2907161" y="1371999"/>
            <a:ext cx="1352010" cy="13520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6938067" y="1371999"/>
            <a:ext cx="1352010" cy="13520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4922614" y="1371999"/>
            <a:ext cx="1352010" cy="135201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351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14804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5710" y="2935119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0257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676B76D-96D9-F676-2335-94823B9958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0586710-1357-25E4-7BEC-5D25D48C6A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1706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ause_Eff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986;p55">
            <a:extLst>
              <a:ext uri="{FF2B5EF4-FFF2-40B4-BE49-F238E27FC236}">
                <a16:creationId xmlns:a16="http://schemas.microsoft.com/office/drawing/2014/main" id="{4A614030-39E4-17C1-4137-3581E11A5E5E}"/>
              </a:ext>
            </a:extLst>
          </p:cNvPr>
          <p:cNvCxnSpPr>
            <a:cxnSpLocks/>
          </p:cNvCxnSpPr>
          <p:nvPr userDrawn="1"/>
        </p:nvCxnSpPr>
        <p:spPr>
          <a:xfrm>
            <a:off x="3137858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987;p55">
            <a:extLst>
              <a:ext uri="{FF2B5EF4-FFF2-40B4-BE49-F238E27FC236}">
                <a16:creationId xmlns:a16="http://schemas.microsoft.com/office/drawing/2014/main" id="{0078BD1A-7F8B-7B51-5FF0-F7F4063D1C5B}"/>
              </a:ext>
            </a:extLst>
          </p:cNvPr>
          <p:cNvCxnSpPr>
            <a:cxnSpLocks/>
          </p:cNvCxnSpPr>
          <p:nvPr userDrawn="1"/>
        </p:nvCxnSpPr>
        <p:spPr>
          <a:xfrm>
            <a:off x="6002427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8;p1">
            <a:extLst>
              <a:ext uri="{FF2B5EF4-FFF2-40B4-BE49-F238E27FC236}">
                <a16:creationId xmlns:a16="http://schemas.microsoft.com/office/drawing/2014/main" id="{D40C7978-9153-935E-0A54-8ABD0E6BB9D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472450" y="4811651"/>
            <a:ext cx="420725" cy="3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lvl="0" algn="r" rtl="0">
              <a:buNone/>
              <a:defRPr sz="7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Poppins"/>
              </a:defRPr>
            </a:lvl1pPr>
            <a:lvl2pPr lvl="1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EAAFB2F6-6AC6-CFE9-268A-57CB2447D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9E33578C-5E58-7FB9-5EF2-64A9DB39AF6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02DAA1-6EF5-2A79-5304-CAFD2161D6EA}"/>
              </a:ext>
            </a:extLst>
          </p:cNvPr>
          <p:cNvSpPr/>
          <p:nvPr userDrawn="1"/>
        </p:nvSpPr>
        <p:spPr>
          <a:xfrm>
            <a:off x="1272570" y="1120347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A1A600F-8896-4A0C-4E09-89EF92EB16D0}"/>
              </a:ext>
            </a:extLst>
          </p:cNvPr>
          <p:cNvSpPr/>
          <p:nvPr userDrawn="1"/>
        </p:nvSpPr>
        <p:spPr>
          <a:xfrm>
            <a:off x="4160907" y="1118702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165E92-83EB-63EB-1C37-53E38700EA72}"/>
              </a:ext>
            </a:extLst>
          </p:cNvPr>
          <p:cNvSpPr/>
          <p:nvPr userDrawn="1"/>
        </p:nvSpPr>
        <p:spPr>
          <a:xfrm>
            <a:off x="7037922" y="1118702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2F8989-C70F-95AC-21EA-CFF199F1D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948" y="2061893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AA45971-D192-58C7-7FC7-DA6C4FE36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9339" y="3244347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38E84C4-8C55-7AFB-E15B-1CED2F4F90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784" y="2039591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3930709-FBB0-A6F9-922D-F09575B98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175" y="3222045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786FEEE8-8DD1-26EF-ACBD-A409ADABD0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1962" y="2039590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2867F-EC70-D29A-B43B-BDC43418F1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6353" y="3222044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A0220972-53CB-DCFD-ABFA-A7BF586E9D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3CBC33-B26D-96ED-A279-D8131736FB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8343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5_Bullets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6F48CA5A-A4A7-760A-E45F-DBF8299F4C5D}"/>
              </a:ext>
            </a:extLst>
          </p:cNvPr>
          <p:cNvCxnSpPr>
            <a:cxnSpLocks/>
          </p:cNvCxnSpPr>
          <p:nvPr userDrawn="1"/>
        </p:nvCxnSpPr>
        <p:spPr>
          <a:xfrm>
            <a:off x="2062683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2;p39">
            <a:extLst>
              <a:ext uri="{FF2B5EF4-FFF2-40B4-BE49-F238E27FC236}">
                <a16:creationId xmlns:a16="http://schemas.microsoft.com/office/drawing/2014/main" id="{FD7BA695-5C70-A82D-81DC-9249F17C8D9B}"/>
              </a:ext>
            </a:extLst>
          </p:cNvPr>
          <p:cNvCxnSpPr>
            <a:cxnSpLocks/>
          </p:cNvCxnSpPr>
          <p:nvPr userDrawn="1"/>
        </p:nvCxnSpPr>
        <p:spPr>
          <a:xfrm>
            <a:off x="5404319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573;p39">
            <a:extLst>
              <a:ext uri="{FF2B5EF4-FFF2-40B4-BE49-F238E27FC236}">
                <a16:creationId xmlns:a16="http://schemas.microsoft.com/office/drawing/2014/main" id="{283C0A6D-7708-5D2A-0C3C-53CB162025BD}"/>
              </a:ext>
            </a:extLst>
          </p:cNvPr>
          <p:cNvCxnSpPr>
            <a:cxnSpLocks/>
          </p:cNvCxnSpPr>
          <p:nvPr userDrawn="1"/>
        </p:nvCxnSpPr>
        <p:spPr>
          <a:xfrm>
            <a:off x="7075137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C7D39FD5-FE38-E51B-B3DE-7B22784B824E}"/>
              </a:ext>
            </a:extLst>
          </p:cNvPr>
          <p:cNvCxnSpPr>
            <a:cxnSpLocks/>
          </p:cNvCxnSpPr>
          <p:nvPr userDrawn="1"/>
        </p:nvCxnSpPr>
        <p:spPr>
          <a:xfrm>
            <a:off x="3733501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1">
            <a:extLst>
              <a:ext uri="{FF2B5EF4-FFF2-40B4-BE49-F238E27FC236}">
                <a16:creationId xmlns:a16="http://schemas.microsoft.com/office/drawing/2014/main" id="{74257EFF-D7A4-8E84-DD41-1285B13E3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6F3F93AB-A5DB-1B93-26EF-2FAC60F5ACC0}"/>
              </a:ext>
            </a:extLst>
          </p:cNvPr>
          <p:cNvSpPr/>
          <p:nvPr userDrawn="1"/>
        </p:nvSpPr>
        <p:spPr>
          <a:xfrm>
            <a:off x="851995" y="1021159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8C59125-9434-02E1-9A51-805B80AF68DD}"/>
              </a:ext>
            </a:extLst>
          </p:cNvPr>
          <p:cNvSpPr/>
          <p:nvPr userDrawn="1"/>
        </p:nvSpPr>
        <p:spPr>
          <a:xfrm>
            <a:off x="2451458" y="1021159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4DE3208-AE5F-7A92-A21A-CD4778B686EE}"/>
              </a:ext>
            </a:extLst>
          </p:cNvPr>
          <p:cNvSpPr/>
          <p:nvPr userDrawn="1"/>
        </p:nvSpPr>
        <p:spPr>
          <a:xfrm>
            <a:off x="4194884" y="1021159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E4F437A-CA5B-FD5C-54E2-B6C23CB2AAED}"/>
              </a:ext>
            </a:extLst>
          </p:cNvPr>
          <p:cNvSpPr/>
          <p:nvPr userDrawn="1"/>
        </p:nvSpPr>
        <p:spPr>
          <a:xfrm>
            <a:off x="5897129" y="1021159"/>
            <a:ext cx="782367" cy="7823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D50607-6D45-90F2-8040-03734CF34CCF}"/>
              </a:ext>
            </a:extLst>
          </p:cNvPr>
          <p:cNvSpPr/>
          <p:nvPr userDrawn="1"/>
        </p:nvSpPr>
        <p:spPr>
          <a:xfrm>
            <a:off x="7537773" y="1021159"/>
            <a:ext cx="782367" cy="78236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E7452B1-6BA0-A06D-13AF-6002ECDF4C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992" y="1941342"/>
            <a:ext cx="1442118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D6A44F45-D912-8FBD-8AA0-74E803778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5393" y="1941342"/>
            <a:ext cx="1421404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6D885F2D-AA78-0192-3911-653EB247B0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81080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B729D4F-E6A8-6970-BD7E-B0CDDEE31B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2359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53F8BC6-227C-FBB6-DFDD-C1D09DBE6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23637" y="1941343"/>
            <a:ext cx="1416993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4D76C5C1-A351-E678-B6D6-FDD2028032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52F01A-FA7C-75B2-D4A2-762BF6A92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4263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4_Icons+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96BD62D-5BB6-2D17-A452-CBC8C9FD072F}"/>
              </a:ext>
            </a:extLst>
          </p:cNvPr>
          <p:cNvSpPr/>
          <p:nvPr userDrawn="1"/>
        </p:nvSpPr>
        <p:spPr>
          <a:xfrm>
            <a:off x="2882032" y="1527937"/>
            <a:ext cx="1224000" cy="122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2934FBB-F7FA-F0CB-82EF-1E5B27517B93}"/>
              </a:ext>
            </a:extLst>
          </p:cNvPr>
          <p:cNvSpPr/>
          <p:nvPr userDrawn="1"/>
        </p:nvSpPr>
        <p:spPr>
          <a:xfrm>
            <a:off x="7144542" y="15279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25087DC-6E1E-ADC0-B7CA-24467990D093}"/>
              </a:ext>
            </a:extLst>
          </p:cNvPr>
          <p:cNvSpPr/>
          <p:nvPr userDrawn="1"/>
        </p:nvSpPr>
        <p:spPr>
          <a:xfrm>
            <a:off x="659336" y="1527937"/>
            <a:ext cx="1224000" cy="122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91DB5C-A89B-F18A-D634-5D32E25887FB}"/>
              </a:ext>
            </a:extLst>
          </p:cNvPr>
          <p:cNvSpPr/>
          <p:nvPr userDrawn="1"/>
        </p:nvSpPr>
        <p:spPr>
          <a:xfrm>
            <a:off x="4992186" y="1527937"/>
            <a:ext cx="1224000" cy="1224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3C6AD2-64DA-71EF-56AC-10DC1BE2274F}"/>
              </a:ext>
            </a:extLst>
          </p:cNvPr>
          <p:cNvGrpSpPr/>
          <p:nvPr userDrawn="1"/>
        </p:nvGrpSpPr>
        <p:grpSpPr>
          <a:xfrm>
            <a:off x="2411413" y="1525239"/>
            <a:ext cx="4213225" cy="2875312"/>
            <a:chOff x="2411413" y="1739903"/>
            <a:chExt cx="4213225" cy="2772000"/>
          </a:xfrm>
        </p:grpSpPr>
        <p:cxnSp>
          <p:nvCxnSpPr>
            <p:cNvPr id="8" name="Google Shape;571;p39">
              <a:extLst>
                <a:ext uri="{FF2B5EF4-FFF2-40B4-BE49-F238E27FC236}">
                  <a16:creationId xmlns:a16="http://schemas.microsoft.com/office/drawing/2014/main" id="{6E04F8F3-A0F9-447F-D870-222621A045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11413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" name="Google Shape;571;p39">
              <a:extLst>
                <a:ext uri="{FF2B5EF4-FFF2-40B4-BE49-F238E27FC236}">
                  <a16:creationId xmlns:a16="http://schemas.microsoft.com/office/drawing/2014/main" id="{302FD52A-958D-DF6C-62EE-70D35D7A60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72000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0" name="Google Shape;571;p39">
              <a:extLst>
                <a:ext uri="{FF2B5EF4-FFF2-40B4-BE49-F238E27FC236}">
                  <a16:creationId xmlns:a16="http://schemas.microsoft.com/office/drawing/2014/main" id="{7745EAB4-9510-E441-8FBA-0BF21124CE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24638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11" name="Picture 1">
            <a:extLst>
              <a:ext uri="{FF2B5EF4-FFF2-40B4-BE49-F238E27FC236}">
                <a16:creationId xmlns:a16="http://schemas.microsoft.com/office/drawing/2014/main" id="{B24CDE00-80AD-ACEF-3603-C250C3749D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722B634-9BC3-F6A1-39D6-069E4693559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3CCFC152-6E16-1EAB-5EEB-B087328215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A52823B-B135-1C12-9587-E59CFA6669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13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BF2FFEC3-81AF-749F-2C09-DC55AA645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13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C161A4E3-ED96-A37F-554D-B410B42F3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2969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623F1F30-28E7-9197-1FD2-0A38E853F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2969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D4A41625-2E20-AC45-4607-98D305D24F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84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5625A2A9-01E8-560C-2D22-7AD023798D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84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382EA7DC-BA7D-7349-965E-29602524C6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813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21" name="Text Placeholder 37">
            <a:extLst>
              <a:ext uri="{FF2B5EF4-FFF2-40B4-BE49-F238E27FC236}">
                <a16:creationId xmlns:a16="http://schemas.microsoft.com/office/drawing/2014/main" id="{34557F8C-9F6A-D210-0899-32DB9BBDD6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813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1E6DFE84-71DF-D956-0C3F-B94C16A3E2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907DD9E-B86D-894E-A7A5-6CD3E790F1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8976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33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20987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54641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29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21948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79070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29451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79832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30213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06169B39-2E3B-E7DB-9D05-34A76CDC3F4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6018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ED3317A-E8DB-526F-4382-5DA955A912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43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s_Slide_2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16DF78-A64C-5EC7-BB11-705765801B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205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BF4BCC0-56EF-9911-8C94-71100D793C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662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1A9664-96FE-5066-719D-5C03141DCFA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CC16D5-71B9-3CCC-FECD-E4CD6D6E2C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7500"/>
            <a:ext cx="4456388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OVER TWO LINES GOES IN THIS SPAC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3A79B9-7027-F5B9-1AC3-5BC8C08BF8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405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_Slide_3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2A668B-CF1A-21E0-EF81-C4E5F2B91E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851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_Slide_3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42EFD2D-5EB2-6796-45BC-FA9951020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0881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EAED5C-97E6-7FE6-57FE-8EECC2A357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178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4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69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5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023296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5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69384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8F9487-3676-B3E3-6F2E-245EADD43B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663576"/>
            <a:ext cx="8137525" cy="1287888"/>
          </a:xfrm>
        </p:spPr>
        <p:txBody>
          <a:bodyPr/>
          <a:lstStyle>
            <a:lvl1pPr algn="ctr">
              <a:defRPr sz="2400" cap="all" baseline="0">
                <a:latin typeface="Impact" panose="020B0806030902050204" pitchFamily="34" charset="0"/>
              </a:defRPr>
            </a:lvl1pPr>
            <a:lvl2pPr algn="ctr">
              <a:defRPr sz="2400" cap="all" baseline="0">
                <a:latin typeface="Impact" panose="020B0806030902050204" pitchFamily="34" charset="0"/>
              </a:defRPr>
            </a:lvl2pPr>
            <a:lvl3pPr algn="ctr">
              <a:defRPr sz="2400" cap="all" baseline="0">
                <a:latin typeface="Impact" panose="020B0806030902050204" pitchFamily="34" charset="0"/>
              </a:defRPr>
            </a:lvl3pPr>
            <a:lvl4pPr algn="ctr">
              <a:defRPr sz="2400">
                <a:latin typeface="Impact" panose="020B0806030902050204" pitchFamily="34" charset="0"/>
              </a:defRPr>
            </a:lvl4pPr>
            <a:lvl5pPr algn="ctr">
              <a:defRPr sz="24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86C9DD4-B1D8-B59D-C2D4-6EBAB7DD1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2205805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736165-38B2-E4B9-F5E6-283F8D3517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2F62E0-3060-7A2D-809C-958E0A362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2205805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46DBC3D-88F9-1A6E-F9D0-CCEF3A550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C5EBAA3-F8E3-0534-FAB5-0DCCEABD2B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2205805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98873E5-A9E1-16F8-8B6C-4776428ED5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EC598-364D-1025-80C8-05FDA96B8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2225748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E0743CC-F2F3-9EDA-A367-3757551B93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275906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6F9C67C9-C22C-8AED-3A3E-6BEB0E9697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A436C44-C1B2-8490-04E3-5AA9A0B245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4590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70909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770909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770909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790852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2841010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3709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71898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371898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371898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391841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439528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6136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26526" y="2849563"/>
            <a:ext cx="209201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69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2542"/>
            <a:ext cx="2412957" cy="4413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E79CB8-D113-F4FA-7C23-16FD85FE33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1823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48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5FF3E2-B99C-C92D-EDBD-5482C5CC1A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4999" y="552063"/>
            <a:ext cx="5465763" cy="4029074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A90C902-0E03-385C-F1D5-338F5BBF99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81" y="1222568"/>
            <a:ext cx="1495425" cy="1133475"/>
          </a:xfrm>
        </p:spPr>
        <p:txBody>
          <a:bodyPr/>
          <a:lstStyle>
            <a:lvl1pPr>
              <a:defRPr sz="66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70330-6DBE-0230-E599-03B565F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381" y="2356042"/>
            <a:ext cx="1993144" cy="2160395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C8911C0A-436D-D75C-4AE9-2AF244E27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AD990E4-3854-2F82-26A2-151FFFE29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77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3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62DA3E6-B28A-B9C0-57F5-B9E85B9ABE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12" y="715963"/>
            <a:ext cx="3585477" cy="2657858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780F69-3F3B-7FA1-B1BE-168EFF64DB3A}"/>
              </a:ext>
            </a:extLst>
          </p:cNvPr>
          <p:cNvCxnSpPr>
            <a:cxnSpLocks/>
          </p:cNvCxnSpPr>
          <p:nvPr userDrawn="1"/>
        </p:nvCxnSpPr>
        <p:spPr>
          <a:xfrm>
            <a:off x="4564771" y="704193"/>
            <a:ext cx="7229" cy="35275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CF83EB-17CF-179F-3BE4-5549EEC8E7DB}"/>
              </a:ext>
            </a:extLst>
          </p:cNvPr>
          <p:cNvCxnSpPr>
            <a:cxnSpLocks/>
          </p:cNvCxnSpPr>
          <p:nvPr userDrawn="1"/>
        </p:nvCxnSpPr>
        <p:spPr>
          <a:xfrm>
            <a:off x="4834986" y="2562668"/>
            <a:ext cx="36374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8063DEA-797A-B274-06D5-5708E11900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4987" y="744537"/>
            <a:ext cx="1495425" cy="11334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AB431CD-4616-7A0F-5D12-2904B9C44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4986" y="1699596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6F651D6-AC7C-46C8-5505-D53F43699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2658" y="2656263"/>
            <a:ext cx="1495425" cy="1133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A58B0EC-1C39-B272-BCAC-4CD8FE896B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2657" y="3611322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6295DC-B331-40D3-250B-7245BC0B18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043" y="2331680"/>
            <a:ext cx="1495425" cy="113347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7FD7711-F7CB-43AB-B47A-1FF086B087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919" y="3465155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5E14DE3C-3318-0294-5070-3A23824A0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D527E36-666C-009D-8B15-ADC11B6CCA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4162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69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3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465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6A80E09-318F-198F-360F-4A469093BC0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£</a:t>
            </a:r>
            <a:r>
              <a:rPr lang="en-US" dirty="0" err="1"/>
              <a:t>XXM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4D0CD9-B077-7AFE-61B2-4A9F856EBC0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0803" y="2849563"/>
            <a:ext cx="2221405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</p:spTree>
    <p:extLst>
      <p:ext uri="{BB962C8B-B14F-4D97-AF65-F5344CB8AC3E}">
        <p14:creationId xmlns:p14="http://schemas.microsoft.com/office/powerpoint/2010/main" val="944254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737755" y="1241309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558919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3488" y="3559991"/>
            <a:ext cx="2160445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558919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B36960-69FA-93A3-B62D-9060FF4E4CA9}"/>
              </a:ext>
            </a:extLst>
          </p:cNvPr>
          <p:cNvSpPr>
            <a:spLocks noGrp="1" noChangeAspect="1"/>
          </p:cNvSpPr>
          <p:nvPr>
            <p:ph type="body" sz="quarter" idx="42" hasCustomPrompt="1"/>
          </p:nvPr>
        </p:nvSpPr>
        <p:spPr>
          <a:xfrm>
            <a:off x="3453246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03399-9E12-7808-BC57-91E362F9E505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6168737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42787520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75A0EB-855B-F71C-815A-67E8F021996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1D6DA45-1C1B-7016-29D6-C2FAE729A95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D3EE686-CB76-AE52-0A81-43E1A2EF9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E3EC194-1A1E-09CA-3991-C48088CC77F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B0F5B75-ECAB-F980-5B31-5D69E8C5D3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29919" y="2849563"/>
            <a:ext cx="228317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986DA5-414A-8167-7D2C-B3A959D7B7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0967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3FBB79-C001-C374-B12E-8E72EC783FFB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FA22D30-1B87-E8E9-C14A-B5BD55AFF12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FA12BA-DD49-AA90-A4ED-18023D6BF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E2F156B-3683-658D-94AC-58F6BB4249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96496F6-0F98-8DB7-F442-97672C7D6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5966575-99AF-0B86-F8C8-0695E838E7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6861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HalfPage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355324-3F74-9E18-B542-7720363968CA}"/>
              </a:ext>
            </a:extLst>
          </p:cNvPr>
          <p:cNvSpPr/>
          <p:nvPr userDrawn="1"/>
        </p:nvSpPr>
        <p:spPr>
          <a:xfrm>
            <a:off x="1252451" y="0"/>
            <a:ext cx="78915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Google Shape;82;p14">
            <a:extLst>
              <a:ext uri="{FF2B5EF4-FFF2-40B4-BE49-F238E27FC236}">
                <a16:creationId xmlns:a16="http://schemas.microsoft.com/office/drawing/2014/main" id="{8DD8A0A8-7046-4A2D-435F-91F736B08B9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77194" y="1575303"/>
            <a:ext cx="4068763" cy="1801756"/>
          </a:xfrm>
          <a:prstGeom prst="rect">
            <a:avLst/>
          </a:prstGeom>
        </p:spPr>
        <p:txBody>
          <a:bodyPr spcFirstLastPara="1" wrap="square" lIns="0" tIns="91425" rIns="0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34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4" name="Google Shape;83;p14">
            <a:extLst>
              <a:ext uri="{FF2B5EF4-FFF2-40B4-BE49-F238E27FC236}">
                <a16:creationId xmlns:a16="http://schemas.microsoft.com/office/drawing/2014/main" id="{4AF53E15-62B7-F899-B9F6-2D8469A74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72000" y="3377059"/>
            <a:ext cx="4068763" cy="1075966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83;p14">
            <a:extLst>
              <a:ext uri="{FF2B5EF4-FFF2-40B4-BE49-F238E27FC236}">
                <a16:creationId xmlns:a16="http://schemas.microsoft.com/office/drawing/2014/main" id="{F440B3D9-04FD-1519-959D-96489ADB6CA3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590256" y="833613"/>
            <a:ext cx="4068763" cy="614868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FBE3BED-7861-5ACF-1F9F-5C9CB116E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D7CBDEA-0F60-A5C2-4048-93B159CE12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229098" cy="5143498"/>
          </a:xfrm>
          <a:custGeom>
            <a:avLst/>
            <a:gdLst>
              <a:gd name="connsiteX0" fmla="*/ 956973 w 4229098"/>
              <a:gd name="connsiteY0" fmla="*/ 4981208 h 5143498"/>
              <a:gd name="connsiteX1" fmla="*/ 972398 w 4229098"/>
              <a:gd name="connsiteY1" fmla="*/ 4996575 h 5143498"/>
              <a:gd name="connsiteX2" fmla="*/ 972398 w 4229098"/>
              <a:gd name="connsiteY2" fmla="*/ 5011957 h 5143498"/>
              <a:gd name="connsiteX3" fmla="*/ 956973 w 4229098"/>
              <a:gd name="connsiteY3" fmla="*/ 5011957 h 5143498"/>
              <a:gd name="connsiteX4" fmla="*/ 941564 w 4229098"/>
              <a:gd name="connsiteY4" fmla="*/ 4996575 h 5143498"/>
              <a:gd name="connsiteX5" fmla="*/ 956973 w 4229098"/>
              <a:gd name="connsiteY5" fmla="*/ 4981208 h 5143498"/>
              <a:gd name="connsiteX6" fmla="*/ 849075 w 4229098"/>
              <a:gd name="connsiteY6" fmla="*/ 4981208 h 5143498"/>
              <a:gd name="connsiteX7" fmla="*/ 864326 w 4229098"/>
              <a:gd name="connsiteY7" fmla="*/ 4994332 h 5143498"/>
              <a:gd name="connsiteX8" fmla="*/ 833824 w 4229098"/>
              <a:gd name="connsiteY8" fmla="*/ 4994332 h 5143498"/>
              <a:gd name="connsiteX9" fmla="*/ 849075 w 4229098"/>
              <a:gd name="connsiteY9" fmla="*/ 4981208 h 5143498"/>
              <a:gd name="connsiteX10" fmla="*/ 720494 w 4229098"/>
              <a:gd name="connsiteY10" fmla="*/ 4981208 h 5143498"/>
              <a:gd name="connsiteX11" fmla="*/ 735920 w 4229098"/>
              <a:gd name="connsiteY11" fmla="*/ 4996575 h 5143498"/>
              <a:gd name="connsiteX12" fmla="*/ 735920 w 4229098"/>
              <a:gd name="connsiteY12" fmla="*/ 5011957 h 5143498"/>
              <a:gd name="connsiteX13" fmla="*/ 720494 w 4229098"/>
              <a:gd name="connsiteY13" fmla="*/ 5011957 h 5143498"/>
              <a:gd name="connsiteX14" fmla="*/ 705085 w 4229098"/>
              <a:gd name="connsiteY14" fmla="*/ 4996575 h 5143498"/>
              <a:gd name="connsiteX15" fmla="*/ 720494 w 4229098"/>
              <a:gd name="connsiteY15" fmla="*/ 4981208 h 5143498"/>
              <a:gd name="connsiteX16" fmla="*/ 612644 w 4229098"/>
              <a:gd name="connsiteY16" fmla="*/ 4981208 h 5143498"/>
              <a:gd name="connsiteX17" fmla="*/ 627895 w 4229098"/>
              <a:gd name="connsiteY17" fmla="*/ 4994332 h 5143498"/>
              <a:gd name="connsiteX18" fmla="*/ 597393 w 4229098"/>
              <a:gd name="connsiteY18" fmla="*/ 4994332 h 5143498"/>
              <a:gd name="connsiteX19" fmla="*/ 612644 w 4229098"/>
              <a:gd name="connsiteY19" fmla="*/ 4981208 h 5143498"/>
              <a:gd name="connsiteX20" fmla="*/ 429630 w 4229098"/>
              <a:gd name="connsiteY20" fmla="*/ 4981208 h 5143498"/>
              <a:gd name="connsiteX21" fmla="*/ 445040 w 4229098"/>
              <a:gd name="connsiteY21" fmla="*/ 4996575 h 5143498"/>
              <a:gd name="connsiteX22" fmla="*/ 445040 w 4229098"/>
              <a:gd name="connsiteY22" fmla="*/ 5011957 h 5143498"/>
              <a:gd name="connsiteX23" fmla="*/ 429630 w 4229098"/>
              <a:gd name="connsiteY23" fmla="*/ 5011957 h 5143498"/>
              <a:gd name="connsiteX24" fmla="*/ 414221 w 4229098"/>
              <a:gd name="connsiteY24" fmla="*/ 4996575 h 5143498"/>
              <a:gd name="connsiteX25" fmla="*/ 429630 w 4229098"/>
              <a:gd name="connsiteY25" fmla="*/ 4981208 h 5143498"/>
              <a:gd name="connsiteX26" fmla="*/ 278514 w 4229098"/>
              <a:gd name="connsiteY26" fmla="*/ 4981208 h 5143498"/>
              <a:gd name="connsiteX27" fmla="*/ 293924 w 4229098"/>
              <a:gd name="connsiteY27" fmla="*/ 4996575 h 5143498"/>
              <a:gd name="connsiteX28" fmla="*/ 293924 w 4229098"/>
              <a:gd name="connsiteY28" fmla="*/ 5011957 h 5143498"/>
              <a:gd name="connsiteX29" fmla="*/ 278514 w 4229098"/>
              <a:gd name="connsiteY29" fmla="*/ 5011957 h 5143498"/>
              <a:gd name="connsiteX30" fmla="*/ 263105 w 4229098"/>
              <a:gd name="connsiteY30" fmla="*/ 4996575 h 5143498"/>
              <a:gd name="connsiteX31" fmla="*/ 278514 w 4229098"/>
              <a:gd name="connsiteY31" fmla="*/ 4981208 h 5143498"/>
              <a:gd name="connsiteX32" fmla="*/ 895050 w 4229098"/>
              <a:gd name="connsiteY32" fmla="*/ 4981207 h 5143498"/>
              <a:gd name="connsiteX33" fmla="*/ 910476 w 4229098"/>
              <a:gd name="connsiteY33" fmla="*/ 4996574 h 5143498"/>
              <a:gd name="connsiteX34" fmla="*/ 910476 w 4229098"/>
              <a:gd name="connsiteY34" fmla="*/ 5011957 h 5143498"/>
              <a:gd name="connsiteX35" fmla="*/ 895050 w 4229098"/>
              <a:gd name="connsiteY35" fmla="*/ 5011957 h 5143498"/>
              <a:gd name="connsiteX36" fmla="*/ 879642 w 4229098"/>
              <a:gd name="connsiteY36" fmla="*/ 4996574 h 5143498"/>
              <a:gd name="connsiteX37" fmla="*/ 895050 w 4229098"/>
              <a:gd name="connsiteY37" fmla="*/ 4981207 h 5143498"/>
              <a:gd name="connsiteX38" fmla="*/ 340880 w 4229098"/>
              <a:gd name="connsiteY38" fmla="*/ 4981207 h 5143498"/>
              <a:gd name="connsiteX39" fmla="*/ 356290 w 4229098"/>
              <a:gd name="connsiteY39" fmla="*/ 4996574 h 5143498"/>
              <a:gd name="connsiteX40" fmla="*/ 340880 w 4229098"/>
              <a:gd name="connsiteY40" fmla="*/ 5011957 h 5143498"/>
              <a:gd name="connsiteX41" fmla="*/ 325471 w 4229098"/>
              <a:gd name="connsiteY41" fmla="*/ 4996574 h 5143498"/>
              <a:gd name="connsiteX42" fmla="*/ 340880 w 4229098"/>
              <a:gd name="connsiteY42" fmla="*/ 4981207 h 5143498"/>
              <a:gd name="connsiteX43" fmla="*/ 550102 w 4229098"/>
              <a:gd name="connsiteY43" fmla="*/ 4976753 h 5143498"/>
              <a:gd name="connsiteX44" fmla="*/ 550102 w 4229098"/>
              <a:gd name="connsiteY44" fmla="*/ 5014199 h 5143498"/>
              <a:gd name="connsiteX45" fmla="*/ 552351 w 4229098"/>
              <a:gd name="connsiteY45" fmla="*/ 5016442 h 5143498"/>
              <a:gd name="connsiteX46" fmla="*/ 554600 w 4229098"/>
              <a:gd name="connsiteY46" fmla="*/ 5014199 h 5143498"/>
              <a:gd name="connsiteX47" fmla="*/ 554600 w 4229098"/>
              <a:gd name="connsiteY47" fmla="*/ 5000033 h 5143498"/>
              <a:gd name="connsiteX48" fmla="*/ 554600 w 4229098"/>
              <a:gd name="connsiteY48" fmla="*/ 4994947 h 5143498"/>
              <a:gd name="connsiteX49" fmla="*/ 568362 w 4229098"/>
              <a:gd name="connsiteY49" fmla="*/ 4981238 h 5143498"/>
              <a:gd name="connsiteX50" fmla="*/ 582125 w 4229098"/>
              <a:gd name="connsiteY50" fmla="*/ 4994963 h 5143498"/>
              <a:gd name="connsiteX51" fmla="*/ 582125 w 4229098"/>
              <a:gd name="connsiteY51" fmla="*/ 5014199 h 5143498"/>
              <a:gd name="connsiteX52" fmla="*/ 584373 w 4229098"/>
              <a:gd name="connsiteY52" fmla="*/ 5016442 h 5143498"/>
              <a:gd name="connsiteX53" fmla="*/ 586622 w 4229098"/>
              <a:gd name="connsiteY53" fmla="*/ 5014199 h 5143498"/>
              <a:gd name="connsiteX54" fmla="*/ 586622 w 4229098"/>
              <a:gd name="connsiteY54" fmla="*/ 4994963 h 5143498"/>
              <a:gd name="connsiteX55" fmla="*/ 568378 w 4229098"/>
              <a:gd name="connsiteY55" fmla="*/ 4976753 h 5143498"/>
              <a:gd name="connsiteX56" fmla="*/ 568362 w 4229098"/>
              <a:gd name="connsiteY56" fmla="*/ 4976753 h 5143498"/>
              <a:gd name="connsiteX57" fmla="*/ 554600 w 4229098"/>
              <a:gd name="connsiteY57" fmla="*/ 4983007 h 5143498"/>
              <a:gd name="connsiteX58" fmla="*/ 554600 w 4229098"/>
              <a:gd name="connsiteY58" fmla="*/ 4978996 h 5143498"/>
              <a:gd name="connsiteX59" fmla="*/ 552351 w 4229098"/>
              <a:gd name="connsiteY59" fmla="*/ 4976753 h 5143498"/>
              <a:gd name="connsiteX60" fmla="*/ 956973 w 4229098"/>
              <a:gd name="connsiteY60" fmla="*/ 4976738 h 5143498"/>
              <a:gd name="connsiteX61" fmla="*/ 937066 w 4229098"/>
              <a:gd name="connsiteY61" fmla="*/ 4996590 h 5143498"/>
              <a:gd name="connsiteX62" fmla="*/ 956973 w 4229098"/>
              <a:gd name="connsiteY62" fmla="*/ 5016443 h 5143498"/>
              <a:gd name="connsiteX63" fmla="*/ 976880 w 4229098"/>
              <a:gd name="connsiteY63" fmla="*/ 5016443 h 5143498"/>
              <a:gd name="connsiteX64" fmla="*/ 976880 w 4229098"/>
              <a:gd name="connsiteY64" fmla="*/ 4996590 h 5143498"/>
              <a:gd name="connsiteX65" fmla="*/ 956973 w 4229098"/>
              <a:gd name="connsiteY65" fmla="*/ 4976738 h 5143498"/>
              <a:gd name="connsiteX66" fmla="*/ 849075 w 4229098"/>
              <a:gd name="connsiteY66" fmla="*/ 4976738 h 5143498"/>
              <a:gd name="connsiteX67" fmla="*/ 829168 w 4229098"/>
              <a:gd name="connsiteY67" fmla="*/ 4996590 h 5143498"/>
              <a:gd name="connsiteX68" fmla="*/ 849075 w 4229098"/>
              <a:gd name="connsiteY68" fmla="*/ 5016443 h 5143498"/>
              <a:gd name="connsiteX69" fmla="*/ 861270 w 4229098"/>
              <a:gd name="connsiteY69" fmla="*/ 5012289 h 5143498"/>
              <a:gd name="connsiteX70" fmla="*/ 861666 w 4229098"/>
              <a:gd name="connsiteY70" fmla="*/ 5009146 h 5143498"/>
              <a:gd name="connsiteX71" fmla="*/ 858514 w 4229098"/>
              <a:gd name="connsiteY71" fmla="*/ 5008751 h 5143498"/>
              <a:gd name="connsiteX72" fmla="*/ 849075 w 4229098"/>
              <a:gd name="connsiteY72" fmla="*/ 5011973 h 5143498"/>
              <a:gd name="connsiteX73" fmla="*/ 833824 w 4229098"/>
              <a:gd name="connsiteY73" fmla="*/ 4998833 h 5143498"/>
              <a:gd name="connsiteX74" fmla="*/ 866733 w 4229098"/>
              <a:gd name="connsiteY74" fmla="*/ 4998833 h 5143498"/>
              <a:gd name="connsiteX75" fmla="*/ 868982 w 4229098"/>
              <a:gd name="connsiteY75" fmla="*/ 4996590 h 5143498"/>
              <a:gd name="connsiteX76" fmla="*/ 849075 w 4229098"/>
              <a:gd name="connsiteY76" fmla="*/ 4976738 h 5143498"/>
              <a:gd name="connsiteX77" fmla="*/ 720494 w 4229098"/>
              <a:gd name="connsiteY77" fmla="*/ 4976738 h 5143498"/>
              <a:gd name="connsiteX78" fmla="*/ 700587 w 4229098"/>
              <a:gd name="connsiteY78" fmla="*/ 4996590 h 5143498"/>
              <a:gd name="connsiteX79" fmla="*/ 720494 w 4229098"/>
              <a:gd name="connsiteY79" fmla="*/ 5016443 h 5143498"/>
              <a:gd name="connsiteX80" fmla="*/ 740417 w 4229098"/>
              <a:gd name="connsiteY80" fmla="*/ 5016443 h 5143498"/>
              <a:gd name="connsiteX81" fmla="*/ 740417 w 4229098"/>
              <a:gd name="connsiteY81" fmla="*/ 4996590 h 5143498"/>
              <a:gd name="connsiteX82" fmla="*/ 720494 w 4229098"/>
              <a:gd name="connsiteY82" fmla="*/ 4976738 h 5143498"/>
              <a:gd name="connsiteX83" fmla="*/ 612644 w 4229098"/>
              <a:gd name="connsiteY83" fmla="*/ 4976738 h 5143498"/>
              <a:gd name="connsiteX84" fmla="*/ 592737 w 4229098"/>
              <a:gd name="connsiteY84" fmla="*/ 4996590 h 5143498"/>
              <a:gd name="connsiteX85" fmla="*/ 612644 w 4229098"/>
              <a:gd name="connsiteY85" fmla="*/ 5016443 h 5143498"/>
              <a:gd name="connsiteX86" fmla="*/ 624839 w 4229098"/>
              <a:gd name="connsiteY86" fmla="*/ 5012289 h 5143498"/>
              <a:gd name="connsiteX87" fmla="*/ 625235 w 4229098"/>
              <a:gd name="connsiteY87" fmla="*/ 5009146 h 5143498"/>
              <a:gd name="connsiteX88" fmla="*/ 622083 w 4229098"/>
              <a:gd name="connsiteY88" fmla="*/ 5008751 h 5143498"/>
              <a:gd name="connsiteX89" fmla="*/ 612644 w 4229098"/>
              <a:gd name="connsiteY89" fmla="*/ 5011973 h 5143498"/>
              <a:gd name="connsiteX90" fmla="*/ 597393 w 4229098"/>
              <a:gd name="connsiteY90" fmla="*/ 4998833 h 5143498"/>
              <a:gd name="connsiteX91" fmla="*/ 630302 w 4229098"/>
              <a:gd name="connsiteY91" fmla="*/ 4998833 h 5143498"/>
              <a:gd name="connsiteX92" fmla="*/ 632551 w 4229098"/>
              <a:gd name="connsiteY92" fmla="*/ 4996590 h 5143498"/>
              <a:gd name="connsiteX93" fmla="*/ 612644 w 4229098"/>
              <a:gd name="connsiteY93" fmla="*/ 4976738 h 5143498"/>
              <a:gd name="connsiteX94" fmla="*/ 513329 w 4229098"/>
              <a:gd name="connsiteY94" fmla="*/ 4976738 h 5143498"/>
              <a:gd name="connsiteX95" fmla="*/ 493422 w 4229098"/>
              <a:gd name="connsiteY95" fmla="*/ 4996590 h 5143498"/>
              <a:gd name="connsiteX96" fmla="*/ 513329 w 4229098"/>
              <a:gd name="connsiteY96" fmla="*/ 5016443 h 5143498"/>
              <a:gd name="connsiteX97" fmla="*/ 525999 w 4229098"/>
              <a:gd name="connsiteY97" fmla="*/ 5011894 h 5143498"/>
              <a:gd name="connsiteX98" fmla="*/ 526300 w 4229098"/>
              <a:gd name="connsiteY98" fmla="*/ 5008735 h 5143498"/>
              <a:gd name="connsiteX99" fmla="*/ 523132 w 4229098"/>
              <a:gd name="connsiteY99" fmla="*/ 5008435 h 5143498"/>
              <a:gd name="connsiteX100" fmla="*/ 513329 w 4229098"/>
              <a:gd name="connsiteY100" fmla="*/ 5011957 h 5143498"/>
              <a:gd name="connsiteX101" fmla="*/ 497904 w 4229098"/>
              <a:gd name="connsiteY101" fmla="*/ 4996575 h 5143498"/>
              <a:gd name="connsiteX102" fmla="*/ 513329 w 4229098"/>
              <a:gd name="connsiteY102" fmla="*/ 4981208 h 5143498"/>
              <a:gd name="connsiteX103" fmla="*/ 523132 w 4229098"/>
              <a:gd name="connsiteY103" fmla="*/ 4984729 h 5143498"/>
              <a:gd name="connsiteX104" fmla="*/ 526300 w 4229098"/>
              <a:gd name="connsiteY104" fmla="*/ 4984429 h 5143498"/>
              <a:gd name="connsiteX105" fmla="*/ 525999 w 4229098"/>
              <a:gd name="connsiteY105" fmla="*/ 4981271 h 5143498"/>
              <a:gd name="connsiteX106" fmla="*/ 513329 w 4229098"/>
              <a:gd name="connsiteY106" fmla="*/ 4976738 h 5143498"/>
              <a:gd name="connsiteX107" fmla="*/ 429646 w 4229098"/>
              <a:gd name="connsiteY107" fmla="*/ 4976738 h 5143498"/>
              <a:gd name="connsiteX108" fmla="*/ 409739 w 4229098"/>
              <a:gd name="connsiteY108" fmla="*/ 4996590 h 5143498"/>
              <a:gd name="connsiteX109" fmla="*/ 429646 w 4229098"/>
              <a:gd name="connsiteY109" fmla="*/ 5016443 h 5143498"/>
              <a:gd name="connsiteX110" fmla="*/ 449553 w 4229098"/>
              <a:gd name="connsiteY110" fmla="*/ 5016443 h 5143498"/>
              <a:gd name="connsiteX111" fmla="*/ 449553 w 4229098"/>
              <a:gd name="connsiteY111" fmla="*/ 4996590 h 5143498"/>
              <a:gd name="connsiteX112" fmla="*/ 429646 w 4229098"/>
              <a:gd name="connsiteY112" fmla="*/ 4976738 h 5143498"/>
              <a:gd name="connsiteX113" fmla="*/ 926059 w 4229098"/>
              <a:gd name="connsiteY113" fmla="*/ 4976722 h 5143498"/>
              <a:gd name="connsiteX114" fmla="*/ 923810 w 4229098"/>
              <a:gd name="connsiteY114" fmla="*/ 4978965 h 5143498"/>
              <a:gd name="connsiteX115" fmla="*/ 923810 w 4229098"/>
              <a:gd name="connsiteY115" fmla="*/ 5014200 h 5143498"/>
              <a:gd name="connsiteX116" fmla="*/ 926059 w 4229098"/>
              <a:gd name="connsiteY116" fmla="*/ 5016442 h 5143498"/>
              <a:gd name="connsiteX117" fmla="*/ 928292 w 4229098"/>
              <a:gd name="connsiteY117" fmla="*/ 5014200 h 5143498"/>
              <a:gd name="connsiteX118" fmla="*/ 928292 w 4229098"/>
              <a:gd name="connsiteY118" fmla="*/ 4978965 h 5143498"/>
              <a:gd name="connsiteX119" fmla="*/ 926059 w 4229098"/>
              <a:gd name="connsiteY119" fmla="*/ 4976722 h 5143498"/>
              <a:gd name="connsiteX120" fmla="*/ 539730 w 4229098"/>
              <a:gd name="connsiteY120" fmla="*/ 4976722 h 5143498"/>
              <a:gd name="connsiteX121" fmla="*/ 537481 w 4229098"/>
              <a:gd name="connsiteY121" fmla="*/ 4978965 h 5143498"/>
              <a:gd name="connsiteX122" fmla="*/ 537481 w 4229098"/>
              <a:gd name="connsiteY122" fmla="*/ 5014200 h 5143498"/>
              <a:gd name="connsiteX123" fmla="*/ 539730 w 4229098"/>
              <a:gd name="connsiteY123" fmla="*/ 5016442 h 5143498"/>
              <a:gd name="connsiteX124" fmla="*/ 541979 w 4229098"/>
              <a:gd name="connsiteY124" fmla="*/ 5014200 h 5143498"/>
              <a:gd name="connsiteX125" fmla="*/ 541979 w 4229098"/>
              <a:gd name="connsiteY125" fmla="*/ 4978965 h 5143498"/>
              <a:gd name="connsiteX126" fmla="*/ 539730 w 4229098"/>
              <a:gd name="connsiteY126" fmla="*/ 4976722 h 5143498"/>
              <a:gd name="connsiteX127" fmla="*/ 371984 w 4229098"/>
              <a:gd name="connsiteY127" fmla="*/ 4976722 h 5143498"/>
              <a:gd name="connsiteX128" fmla="*/ 369735 w 4229098"/>
              <a:gd name="connsiteY128" fmla="*/ 4978965 h 5143498"/>
              <a:gd name="connsiteX129" fmla="*/ 369735 w 4229098"/>
              <a:gd name="connsiteY129" fmla="*/ 5014200 h 5143498"/>
              <a:gd name="connsiteX130" fmla="*/ 371984 w 4229098"/>
              <a:gd name="connsiteY130" fmla="*/ 5016442 h 5143498"/>
              <a:gd name="connsiteX131" fmla="*/ 374233 w 4229098"/>
              <a:gd name="connsiteY131" fmla="*/ 5014200 h 5143498"/>
              <a:gd name="connsiteX132" fmla="*/ 374233 w 4229098"/>
              <a:gd name="connsiteY132" fmla="*/ 4978965 h 5143498"/>
              <a:gd name="connsiteX133" fmla="*/ 371984 w 4229098"/>
              <a:gd name="connsiteY133" fmla="*/ 4976722 h 5143498"/>
              <a:gd name="connsiteX134" fmla="*/ 340880 w 4229098"/>
              <a:gd name="connsiteY134" fmla="*/ 4976722 h 5143498"/>
              <a:gd name="connsiteX135" fmla="*/ 320973 w 4229098"/>
              <a:gd name="connsiteY135" fmla="*/ 4996574 h 5143498"/>
              <a:gd name="connsiteX136" fmla="*/ 340880 w 4229098"/>
              <a:gd name="connsiteY136" fmla="*/ 5016427 h 5143498"/>
              <a:gd name="connsiteX137" fmla="*/ 356290 w 4229098"/>
              <a:gd name="connsiteY137" fmla="*/ 5009130 h 5143498"/>
              <a:gd name="connsiteX138" fmla="*/ 356290 w 4229098"/>
              <a:gd name="connsiteY138" fmla="*/ 5014200 h 5143498"/>
              <a:gd name="connsiteX139" fmla="*/ 340880 w 4229098"/>
              <a:gd name="connsiteY139" fmla="*/ 5029567 h 5143498"/>
              <a:gd name="connsiteX140" fmla="*/ 326706 w 4229098"/>
              <a:gd name="connsiteY140" fmla="*/ 5020264 h 5143498"/>
              <a:gd name="connsiteX141" fmla="*/ 323744 w 4229098"/>
              <a:gd name="connsiteY141" fmla="*/ 5019096 h 5143498"/>
              <a:gd name="connsiteX142" fmla="*/ 322573 w 4229098"/>
              <a:gd name="connsiteY142" fmla="*/ 5022049 h 5143498"/>
              <a:gd name="connsiteX143" fmla="*/ 340880 w 4229098"/>
              <a:gd name="connsiteY143" fmla="*/ 5034068 h 5143498"/>
              <a:gd name="connsiteX144" fmla="*/ 360787 w 4229098"/>
              <a:gd name="connsiteY144" fmla="*/ 5014216 h 5143498"/>
              <a:gd name="connsiteX145" fmla="*/ 360787 w 4229098"/>
              <a:gd name="connsiteY145" fmla="*/ 4996590 h 5143498"/>
              <a:gd name="connsiteX146" fmla="*/ 340880 w 4229098"/>
              <a:gd name="connsiteY146" fmla="*/ 4976738 h 5143498"/>
              <a:gd name="connsiteX147" fmla="*/ 309475 w 4229098"/>
              <a:gd name="connsiteY147" fmla="*/ 4976722 h 5143498"/>
              <a:gd name="connsiteX148" fmla="*/ 307242 w 4229098"/>
              <a:gd name="connsiteY148" fmla="*/ 4978965 h 5143498"/>
              <a:gd name="connsiteX149" fmla="*/ 307242 w 4229098"/>
              <a:gd name="connsiteY149" fmla="*/ 5014200 h 5143498"/>
              <a:gd name="connsiteX150" fmla="*/ 309475 w 4229098"/>
              <a:gd name="connsiteY150" fmla="*/ 5016442 h 5143498"/>
              <a:gd name="connsiteX151" fmla="*/ 311724 w 4229098"/>
              <a:gd name="connsiteY151" fmla="*/ 5014200 h 5143498"/>
              <a:gd name="connsiteX152" fmla="*/ 311724 w 4229098"/>
              <a:gd name="connsiteY152" fmla="*/ 4978965 h 5143498"/>
              <a:gd name="connsiteX153" fmla="*/ 309475 w 4229098"/>
              <a:gd name="connsiteY153" fmla="*/ 4976722 h 5143498"/>
              <a:gd name="connsiteX154" fmla="*/ 782400 w 4229098"/>
              <a:gd name="connsiteY154" fmla="*/ 4976706 h 5143498"/>
              <a:gd name="connsiteX155" fmla="*/ 771441 w 4229098"/>
              <a:gd name="connsiteY155" fmla="*/ 4981270 h 5143498"/>
              <a:gd name="connsiteX156" fmla="*/ 771441 w 4229098"/>
              <a:gd name="connsiteY156" fmla="*/ 4978996 h 5143498"/>
              <a:gd name="connsiteX157" fmla="*/ 769192 w 4229098"/>
              <a:gd name="connsiteY157" fmla="*/ 4976753 h 5143498"/>
              <a:gd name="connsiteX158" fmla="*/ 766943 w 4229098"/>
              <a:gd name="connsiteY158" fmla="*/ 4976753 h 5143498"/>
              <a:gd name="connsiteX159" fmla="*/ 766943 w 4229098"/>
              <a:gd name="connsiteY159" fmla="*/ 4978996 h 5143498"/>
              <a:gd name="connsiteX160" fmla="*/ 766943 w 4229098"/>
              <a:gd name="connsiteY160" fmla="*/ 5014200 h 5143498"/>
              <a:gd name="connsiteX161" fmla="*/ 769192 w 4229098"/>
              <a:gd name="connsiteY161" fmla="*/ 5016442 h 5143498"/>
              <a:gd name="connsiteX162" fmla="*/ 771441 w 4229098"/>
              <a:gd name="connsiteY162" fmla="*/ 5014200 h 5143498"/>
              <a:gd name="connsiteX163" fmla="*/ 771441 w 4229098"/>
              <a:gd name="connsiteY163" fmla="*/ 4992136 h 5143498"/>
              <a:gd name="connsiteX164" fmla="*/ 782400 w 4229098"/>
              <a:gd name="connsiteY164" fmla="*/ 4981207 h 5143498"/>
              <a:gd name="connsiteX165" fmla="*/ 793359 w 4229098"/>
              <a:gd name="connsiteY165" fmla="*/ 4992136 h 5143498"/>
              <a:gd name="connsiteX166" fmla="*/ 793359 w 4229098"/>
              <a:gd name="connsiteY166" fmla="*/ 5014200 h 5143498"/>
              <a:gd name="connsiteX167" fmla="*/ 795608 w 4229098"/>
              <a:gd name="connsiteY167" fmla="*/ 5016442 h 5143498"/>
              <a:gd name="connsiteX168" fmla="*/ 797857 w 4229098"/>
              <a:gd name="connsiteY168" fmla="*/ 5014200 h 5143498"/>
              <a:gd name="connsiteX169" fmla="*/ 797857 w 4229098"/>
              <a:gd name="connsiteY169" fmla="*/ 4992136 h 5143498"/>
              <a:gd name="connsiteX170" fmla="*/ 808816 w 4229098"/>
              <a:gd name="connsiteY170" fmla="*/ 4981207 h 5143498"/>
              <a:gd name="connsiteX171" fmla="*/ 819775 w 4229098"/>
              <a:gd name="connsiteY171" fmla="*/ 4992136 h 5143498"/>
              <a:gd name="connsiteX172" fmla="*/ 819775 w 4229098"/>
              <a:gd name="connsiteY172" fmla="*/ 5014200 h 5143498"/>
              <a:gd name="connsiteX173" fmla="*/ 822024 w 4229098"/>
              <a:gd name="connsiteY173" fmla="*/ 5016442 h 5143498"/>
              <a:gd name="connsiteX174" fmla="*/ 824273 w 4229098"/>
              <a:gd name="connsiteY174" fmla="*/ 5014200 h 5143498"/>
              <a:gd name="connsiteX175" fmla="*/ 824273 w 4229098"/>
              <a:gd name="connsiteY175" fmla="*/ 4992136 h 5143498"/>
              <a:gd name="connsiteX176" fmla="*/ 819740 w 4229098"/>
              <a:gd name="connsiteY176" fmla="*/ 4981235 h 5143498"/>
              <a:gd name="connsiteX177" fmla="*/ 808825 w 4229098"/>
              <a:gd name="connsiteY177" fmla="*/ 4976710 h 5143498"/>
              <a:gd name="connsiteX178" fmla="*/ 808832 w 4229098"/>
              <a:gd name="connsiteY178" fmla="*/ 4976706 h 5143498"/>
              <a:gd name="connsiteX179" fmla="*/ 808816 w 4229098"/>
              <a:gd name="connsiteY179" fmla="*/ 4976706 h 5143498"/>
              <a:gd name="connsiteX180" fmla="*/ 808825 w 4229098"/>
              <a:gd name="connsiteY180" fmla="*/ 4976710 h 5143498"/>
              <a:gd name="connsiteX181" fmla="*/ 795624 w 4229098"/>
              <a:gd name="connsiteY181" fmla="*/ 4984160 h 5143498"/>
              <a:gd name="connsiteX182" fmla="*/ 782400 w 4229098"/>
              <a:gd name="connsiteY182" fmla="*/ 4976706 h 5143498"/>
              <a:gd name="connsiteX183" fmla="*/ 653075 w 4229098"/>
              <a:gd name="connsiteY183" fmla="*/ 4976706 h 5143498"/>
              <a:gd name="connsiteX184" fmla="*/ 642116 w 4229098"/>
              <a:gd name="connsiteY184" fmla="*/ 4981270 h 5143498"/>
              <a:gd name="connsiteX185" fmla="*/ 642116 w 4229098"/>
              <a:gd name="connsiteY185" fmla="*/ 4978996 h 5143498"/>
              <a:gd name="connsiteX186" fmla="*/ 639867 w 4229098"/>
              <a:gd name="connsiteY186" fmla="*/ 4976753 h 5143498"/>
              <a:gd name="connsiteX187" fmla="*/ 637618 w 4229098"/>
              <a:gd name="connsiteY187" fmla="*/ 4976753 h 5143498"/>
              <a:gd name="connsiteX188" fmla="*/ 637618 w 4229098"/>
              <a:gd name="connsiteY188" fmla="*/ 4978996 h 5143498"/>
              <a:gd name="connsiteX189" fmla="*/ 637618 w 4229098"/>
              <a:gd name="connsiteY189" fmla="*/ 5014200 h 5143498"/>
              <a:gd name="connsiteX190" fmla="*/ 639867 w 4229098"/>
              <a:gd name="connsiteY190" fmla="*/ 5016442 h 5143498"/>
              <a:gd name="connsiteX191" fmla="*/ 642116 w 4229098"/>
              <a:gd name="connsiteY191" fmla="*/ 5014200 h 5143498"/>
              <a:gd name="connsiteX192" fmla="*/ 642116 w 4229098"/>
              <a:gd name="connsiteY192" fmla="*/ 4992136 h 5143498"/>
              <a:gd name="connsiteX193" fmla="*/ 653075 w 4229098"/>
              <a:gd name="connsiteY193" fmla="*/ 4981207 h 5143498"/>
              <a:gd name="connsiteX194" fmla="*/ 664034 w 4229098"/>
              <a:gd name="connsiteY194" fmla="*/ 4992136 h 5143498"/>
              <a:gd name="connsiteX195" fmla="*/ 664034 w 4229098"/>
              <a:gd name="connsiteY195" fmla="*/ 5014200 h 5143498"/>
              <a:gd name="connsiteX196" fmla="*/ 666283 w 4229098"/>
              <a:gd name="connsiteY196" fmla="*/ 5016442 h 5143498"/>
              <a:gd name="connsiteX197" fmla="*/ 668532 w 4229098"/>
              <a:gd name="connsiteY197" fmla="*/ 5014200 h 5143498"/>
              <a:gd name="connsiteX198" fmla="*/ 668532 w 4229098"/>
              <a:gd name="connsiteY198" fmla="*/ 4992136 h 5143498"/>
              <a:gd name="connsiteX199" fmla="*/ 679491 w 4229098"/>
              <a:gd name="connsiteY199" fmla="*/ 4981207 h 5143498"/>
              <a:gd name="connsiteX200" fmla="*/ 690450 w 4229098"/>
              <a:gd name="connsiteY200" fmla="*/ 4992136 h 5143498"/>
              <a:gd name="connsiteX201" fmla="*/ 690450 w 4229098"/>
              <a:gd name="connsiteY201" fmla="*/ 5014200 h 5143498"/>
              <a:gd name="connsiteX202" fmla="*/ 692715 w 4229098"/>
              <a:gd name="connsiteY202" fmla="*/ 5016442 h 5143498"/>
              <a:gd name="connsiteX203" fmla="*/ 694948 w 4229098"/>
              <a:gd name="connsiteY203" fmla="*/ 5014200 h 5143498"/>
              <a:gd name="connsiteX204" fmla="*/ 694948 w 4229098"/>
              <a:gd name="connsiteY204" fmla="*/ 4992136 h 5143498"/>
              <a:gd name="connsiteX205" fmla="*/ 679491 w 4229098"/>
              <a:gd name="connsiteY205" fmla="*/ 4976706 h 5143498"/>
              <a:gd name="connsiteX206" fmla="*/ 666283 w 4229098"/>
              <a:gd name="connsiteY206" fmla="*/ 4984160 h 5143498"/>
              <a:gd name="connsiteX207" fmla="*/ 653075 w 4229098"/>
              <a:gd name="connsiteY207" fmla="*/ 4976706 h 5143498"/>
              <a:gd name="connsiteX208" fmla="*/ 923810 w 4229098"/>
              <a:gd name="connsiteY208" fmla="*/ 4964687 h 5143498"/>
              <a:gd name="connsiteX209" fmla="*/ 923810 w 4229098"/>
              <a:gd name="connsiteY209" fmla="*/ 4966930 h 5143498"/>
              <a:gd name="connsiteX210" fmla="*/ 926059 w 4229098"/>
              <a:gd name="connsiteY210" fmla="*/ 4969172 h 5143498"/>
              <a:gd name="connsiteX211" fmla="*/ 928292 w 4229098"/>
              <a:gd name="connsiteY211" fmla="*/ 4966930 h 5143498"/>
              <a:gd name="connsiteX212" fmla="*/ 926059 w 4229098"/>
              <a:gd name="connsiteY212" fmla="*/ 4964687 h 5143498"/>
              <a:gd name="connsiteX213" fmla="*/ 537481 w 4229098"/>
              <a:gd name="connsiteY213" fmla="*/ 4964687 h 5143498"/>
              <a:gd name="connsiteX214" fmla="*/ 537481 w 4229098"/>
              <a:gd name="connsiteY214" fmla="*/ 4966930 h 5143498"/>
              <a:gd name="connsiteX215" fmla="*/ 539730 w 4229098"/>
              <a:gd name="connsiteY215" fmla="*/ 4969172 h 5143498"/>
              <a:gd name="connsiteX216" fmla="*/ 541979 w 4229098"/>
              <a:gd name="connsiteY216" fmla="*/ 4966930 h 5143498"/>
              <a:gd name="connsiteX217" fmla="*/ 539730 w 4229098"/>
              <a:gd name="connsiteY217" fmla="*/ 4964687 h 5143498"/>
              <a:gd name="connsiteX218" fmla="*/ 369734 w 4229098"/>
              <a:gd name="connsiteY218" fmla="*/ 4964687 h 5143498"/>
              <a:gd name="connsiteX219" fmla="*/ 369734 w 4229098"/>
              <a:gd name="connsiteY219" fmla="*/ 4966930 h 5143498"/>
              <a:gd name="connsiteX220" fmla="*/ 371983 w 4229098"/>
              <a:gd name="connsiteY220" fmla="*/ 4969172 h 5143498"/>
              <a:gd name="connsiteX221" fmla="*/ 374232 w 4229098"/>
              <a:gd name="connsiteY221" fmla="*/ 4966930 h 5143498"/>
              <a:gd name="connsiteX222" fmla="*/ 371983 w 4229098"/>
              <a:gd name="connsiteY222" fmla="*/ 4964687 h 5143498"/>
              <a:gd name="connsiteX223" fmla="*/ 307225 w 4229098"/>
              <a:gd name="connsiteY223" fmla="*/ 4964687 h 5143498"/>
              <a:gd name="connsiteX224" fmla="*/ 307225 w 4229098"/>
              <a:gd name="connsiteY224" fmla="*/ 4966930 h 5143498"/>
              <a:gd name="connsiteX225" fmla="*/ 309474 w 4229098"/>
              <a:gd name="connsiteY225" fmla="*/ 4969172 h 5143498"/>
              <a:gd name="connsiteX226" fmla="*/ 311707 w 4229098"/>
              <a:gd name="connsiteY226" fmla="*/ 4966930 h 5143498"/>
              <a:gd name="connsiteX227" fmla="*/ 309474 w 4229098"/>
              <a:gd name="connsiteY227" fmla="*/ 4964687 h 5143498"/>
              <a:gd name="connsiteX228" fmla="*/ 912708 w 4229098"/>
              <a:gd name="connsiteY228" fmla="*/ 4959933 h 5143498"/>
              <a:gd name="connsiteX229" fmla="*/ 910460 w 4229098"/>
              <a:gd name="connsiteY229" fmla="*/ 4962176 h 5143498"/>
              <a:gd name="connsiteX230" fmla="*/ 910460 w 4229098"/>
              <a:gd name="connsiteY230" fmla="*/ 4984034 h 5143498"/>
              <a:gd name="connsiteX231" fmla="*/ 895034 w 4229098"/>
              <a:gd name="connsiteY231" fmla="*/ 4976737 h 5143498"/>
              <a:gd name="connsiteX232" fmla="*/ 875127 w 4229098"/>
              <a:gd name="connsiteY232" fmla="*/ 4996590 h 5143498"/>
              <a:gd name="connsiteX233" fmla="*/ 895034 w 4229098"/>
              <a:gd name="connsiteY233" fmla="*/ 5016442 h 5143498"/>
              <a:gd name="connsiteX234" fmla="*/ 914958 w 4229098"/>
              <a:gd name="connsiteY234" fmla="*/ 5016442 h 5143498"/>
              <a:gd name="connsiteX235" fmla="*/ 914958 w 4229098"/>
              <a:gd name="connsiteY235" fmla="*/ 4962176 h 5143498"/>
              <a:gd name="connsiteX236" fmla="*/ 912708 w 4229098"/>
              <a:gd name="connsiteY236" fmla="*/ 4959933 h 5143498"/>
              <a:gd name="connsiteX237" fmla="*/ 457694 w 4229098"/>
              <a:gd name="connsiteY237" fmla="*/ 4959933 h 5143498"/>
              <a:gd name="connsiteX238" fmla="*/ 455445 w 4229098"/>
              <a:gd name="connsiteY238" fmla="*/ 4962176 h 5143498"/>
              <a:gd name="connsiteX239" fmla="*/ 455445 w 4229098"/>
              <a:gd name="connsiteY239" fmla="*/ 5010772 h 5143498"/>
              <a:gd name="connsiteX240" fmla="*/ 461129 w 4229098"/>
              <a:gd name="connsiteY240" fmla="*/ 5016442 h 5143498"/>
              <a:gd name="connsiteX241" fmla="*/ 463379 w 4229098"/>
              <a:gd name="connsiteY241" fmla="*/ 5014199 h 5143498"/>
              <a:gd name="connsiteX242" fmla="*/ 461129 w 4229098"/>
              <a:gd name="connsiteY242" fmla="*/ 5011957 h 5143498"/>
              <a:gd name="connsiteX243" fmla="*/ 459943 w 4229098"/>
              <a:gd name="connsiteY243" fmla="*/ 5010772 h 5143498"/>
              <a:gd name="connsiteX244" fmla="*/ 459943 w 4229098"/>
              <a:gd name="connsiteY244" fmla="*/ 4962176 h 5143498"/>
              <a:gd name="connsiteX245" fmla="*/ 457694 w 4229098"/>
              <a:gd name="connsiteY245" fmla="*/ 4959933 h 5143498"/>
              <a:gd name="connsiteX246" fmla="*/ 391621 w 4229098"/>
              <a:gd name="connsiteY246" fmla="*/ 4959918 h 5143498"/>
              <a:gd name="connsiteX247" fmla="*/ 389372 w 4229098"/>
              <a:gd name="connsiteY247" fmla="*/ 4962161 h 5143498"/>
              <a:gd name="connsiteX248" fmla="*/ 389372 w 4229098"/>
              <a:gd name="connsiteY248" fmla="*/ 4976722 h 5143498"/>
              <a:gd name="connsiteX249" fmla="*/ 385604 w 4229098"/>
              <a:gd name="connsiteY249" fmla="*/ 4976722 h 5143498"/>
              <a:gd name="connsiteX250" fmla="*/ 383355 w 4229098"/>
              <a:gd name="connsiteY250" fmla="*/ 4978965 h 5143498"/>
              <a:gd name="connsiteX251" fmla="*/ 385604 w 4229098"/>
              <a:gd name="connsiteY251" fmla="*/ 4981208 h 5143498"/>
              <a:gd name="connsiteX252" fmla="*/ 389372 w 4229098"/>
              <a:gd name="connsiteY252" fmla="*/ 4981208 h 5143498"/>
              <a:gd name="connsiteX253" fmla="*/ 389372 w 4229098"/>
              <a:gd name="connsiteY253" fmla="*/ 5004519 h 5143498"/>
              <a:gd name="connsiteX254" fmla="*/ 401314 w 4229098"/>
              <a:gd name="connsiteY254" fmla="*/ 5016427 h 5143498"/>
              <a:gd name="connsiteX255" fmla="*/ 403974 w 4229098"/>
              <a:gd name="connsiteY255" fmla="*/ 5016127 h 5143498"/>
              <a:gd name="connsiteX256" fmla="*/ 405661 w 4229098"/>
              <a:gd name="connsiteY256" fmla="*/ 5013454 h 5143498"/>
              <a:gd name="connsiteX257" fmla="*/ 405668 w 4229098"/>
              <a:gd name="connsiteY257" fmla="*/ 5013458 h 5143498"/>
              <a:gd name="connsiteX258" fmla="*/ 405668 w 4229098"/>
              <a:gd name="connsiteY258" fmla="*/ 5013442 h 5143498"/>
              <a:gd name="connsiteX259" fmla="*/ 405661 w 4229098"/>
              <a:gd name="connsiteY259" fmla="*/ 5013454 h 5143498"/>
              <a:gd name="connsiteX260" fmla="*/ 402977 w 4229098"/>
              <a:gd name="connsiteY260" fmla="*/ 5011768 h 5143498"/>
              <a:gd name="connsiteX261" fmla="*/ 401314 w 4229098"/>
              <a:gd name="connsiteY261" fmla="*/ 5011957 h 5143498"/>
              <a:gd name="connsiteX262" fmla="*/ 393870 w 4229098"/>
              <a:gd name="connsiteY262" fmla="*/ 5004519 h 5143498"/>
              <a:gd name="connsiteX263" fmla="*/ 393870 w 4229098"/>
              <a:gd name="connsiteY263" fmla="*/ 4981208 h 5143498"/>
              <a:gd name="connsiteX264" fmla="*/ 400205 w 4229098"/>
              <a:gd name="connsiteY264" fmla="*/ 4981208 h 5143498"/>
              <a:gd name="connsiteX265" fmla="*/ 402453 w 4229098"/>
              <a:gd name="connsiteY265" fmla="*/ 4978965 h 5143498"/>
              <a:gd name="connsiteX266" fmla="*/ 400205 w 4229098"/>
              <a:gd name="connsiteY266" fmla="*/ 4976722 h 5143498"/>
              <a:gd name="connsiteX267" fmla="*/ 393870 w 4229098"/>
              <a:gd name="connsiteY267" fmla="*/ 4976722 h 5143498"/>
              <a:gd name="connsiteX268" fmla="*/ 393870 w 4229098"/>
              <a:gd name="connsiteY268" fmla="*/ 4962161 h 5143498"/>
              <a:gd name="connsiteX269" fmla="*/ 391621 w 4229098"/>
              <a:gd name="connsiteY269" fmla="*/ 4959918 h 5143498"/>
              <a:gd name="connsiteX270" fmla="*/ 296172 w 4229098"/>
              <a:gd name="connsiteY270" fmla="*/ 4959918 h 5143498"/>
              <a:gd name="connsiteX271" fmla="*/ 293924 w 4229098"/>
              <a:gd name="connsiteY271" fmla="*/ 4962161 h 5143498"/>
              <a:gd name="connsiteX272" fmla="*/ 293924 w 4229098"/>
              <a:gd name="connsiteY272" fmla="*/ 4984019 h 5143498"/>
              <a:gd name="connsiteX273" fmla="*/ 278514 w 4229098"/>
              <a:gd name="connsiteY273" fmla="*/ 4976722 h 5143498"/>
              <a:gd name="connsiteX274" fmla="*/ 258607 w 4229098"/>
              <a:gd name="connsiteY274" fmla="*/ 4996575 h 5143498"/>
              <a:gd name="connsiteX275" fmla="*/ 278514 w 4229098"/>
              <a:gd name="connsiteY275" fmla="*/ 5016443 h 5143498"/>
              <a:gd name="connsiteX276" fmla="*/ 298421 w 4229098"/>
              <a:gd name="connsiteY276" fmla="*/ 5016443 h 5143498"/>
              <a:gd name="connsiteX277" fmla="*/ 298421 w 4229098"/>
              <a:gd name="connsiteY277" fmla="*/ 5016427 h 5143498"/>
              <a:gd name="connsiteX278" fmla="*/ 298421 w 4229098"/>
              <a:gd name="connsiteY278" fmla="*/ 4962161 h 5143498"/>
              <a:gd name="connsiteX279" fmla="*/ 296172 w 4229098"/>
              <a:gd name="connsiteY279" fmla="*/ 4959918 h 5143498"/>
              <a:gd name="connsiteX280" fmla="*/ 533784 w 4229098"/>
              <a:gd name="connsiteY280" fmla="*/ 4855026 h 5143498"/>
              <a:gd name="connsiteX281" fmla="*/ 533792 w 4229098"/>
              <a:gd name="connsiteY281" fmla="*/ 4855066 h 5143498"/>
              <a:gd name="connsiteX282" fmla="*/ 533784 w 4229098"/>
              <a:gd name="connsiteY282" fmla="*/ 4855107 h 5143498"/>
              <a:gd name="connsiteX283" fmla="*/ 533776 w 4229098"/>
              <a:gd name="connsiteY283" fmla="*/ 4855066 h 5143498"/>
              <a:gd name="connsiteX284" fmla="*/ 258607 w 4229098"/>
              <a:gd name="connsiteY284" fmla="*/ 4785164 h 5143498"/>
              <a:gd name="connsiteX285" fmla="*/ 258607 w 4229098"/>
              <a:gd name="connsiteY285" fmla="*/ 4855066 h 5143498"/>
              <a:gd name="connsiteX286" fmla="*/ 327403 w 4229098"/>
              <a:gd name="connsiteY286" fmla="*/ 4924983 h 5143498"/>
              <a:gd name="connsiteX287" fmla="*/ 396200 w 4229098"/>
              <a:gd name="connsiteY287" fmla="*/ 4855066 h 5143498"/>
              <a:gd name="connsiteX288" fmla="*/ 464995 w 4229098"/>
              <a:gd name="connsiteY288" fmla="*/ 4924983 h 5143498"/>
              <a:gd name="connsiteX289" fmla="*/ 528386 w 4229098"/>
              <a:gd name="connsiteY289" fmla="*/ 4882288 h 5143498"/>
              <a:gd name="connsiteX290" fmla="*/ 533784 w 4229098"/>
              <a:gd name="connsiteY290" fmla="*/ 4855107 h 5143498"/>
              <a:gd name="connsiteX291" fmla="*/ 539181 w 4229098"/>
              <a:gd name="connsiteY291" fmla="*/ 4882281 h 5143498"/>
              <a:gd name="connsiteX292" fmla="*/ 602573 w 4229098"/>
              <a:gd name="connsiteY292" fmla="*/ 4924983 h 5143498"/>
              <a:gd name="connsiteX293" fmla="*/ 636971 w 4229098"/>
              <a:gd name="connsiteY293" fmla="*/ 4915618 h 5143498"/>
              <a:gd name="connsiteX294" fmla="*/ 671369 w 4229098"/>
              <a:gd name="connsiteY294" fmla="*/ 4924983 h 5143498"/>
              <a:gd name="connsiteX295" fmla="*/ 740164 w 4229098"/>
              <a:gd name="connsiteY295" fmla="*/ 4855066 h 5143498"/>
              <a:gd name="connsiteX296" fmla="*/ 671385 w 4229098"/>
              <a:gd name="connsiteY296" fmla="*/ 4785164 h 5143498"/>
              <a:gd name="connsiteX297" fmla="*/ 636987 w 4229098"/>
              <a:gd name="connsiteY297" fmla="*/ 4794514 h 5143498"/>
              <a:gd name="connsiteX298" fmla="*/ 636971 w 4229098"/>
              <a:gd name="connsiteY298" fmla="*/ 4794514 h 5143498"/>
              <a:gd name="connsiteX299" fmla="*/ 602573 w 4229098"/>
              <a:gd name="connsiteY299" fmla="*/ 4785164 h 5143498"/>
              <a:gd name="connsiteX300" fmla="*/ 539181 w 4229098"/>
              <a:gd name="connsiteY300" fmla="*/ 4827853 h 5143498"/>
              <a:gd name="connsiteX301" fmla="*/ 533784 w 4229098"/>
              <a:gd name="connsiteY301" fmla="*/ 4855026 h 5143498"/>
              <a:gd name="connsiteX302" fmla="*/ 528384 w 4229098"/>
              <a:gd name="connsiteY302" fmla="*/ 4827847 h 5143498"/>
              <a:gd name="connsiteX303" fmla="*/ 464995 w 4229098"/>
              <a:gd name="connsiteY303" fmla="*/ 4785164 h 5143498"/>
              <a:gd name="connsiteX304" fmla="*/ 396200 w 4229098"/>
              <a:gd name="connsiteY304" fmla="*/ 4855066 h 5143498"/>
              <a:gd name="connsiteX305" fmla="*/ 327403 w 4229098"/>
              <a:gd name="connsiteY305" fmla="*/ 4785164 h 5143498"/>
              <a:gd name="connsiteX306" fmla="*/ 0 w 4229098"/>
              <a:gd name="connsiteY306" fmla="*/ 0 h 5143498"/>
              <a:gd name="connsiteX307" fmla="*/ 4229098 w 4229098"/>
              <a:gd name="connsiteY307" fmla="*/ 0 h 5143498"/>
              <a:gd name="connsiteX308" fmla="*/ 4229098 w 4229098"/>
              <a:gd name="connsiteY308" fmla="*/ 5143498 h 5143498"/>
              <a:gd name="connsiteX309" fmla="*/ 0 w 4229098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229098" h="5143498">
                <a:moveTo>
                  <a:pt x="956973" y="4981208"/>
                </a:moveTo>
                <a:cubicBezTo>
                  <a:pt x="965478" y="4981208"/>
                  <a:pt x="972398" y="4988109"/>
                  <a:pt x="972398" y="4996575"/>
                </a:cubicBezTo>
                <a:lnTo>
                  <a:pt x="972398" y="5011957"/>
                </a:lnTo>
                <a:lnTo>
                  <a:pt x="956973" y="5011957"/>
                </a:lnTo>
                <a:cubicBezTo>
                  <a:pt x="948484" y="5011957"/>
                  <a:pt x="941564" y="5005040"/>
                  <a:pt x="941564" y="4996575"/>
                </a:cubicBezTo>
                <a:cubicBezTo>
                  <a:pt x="941564" y="4988109"/>
                  <a:pt x="948469" y="4981208"/>
                  <a:pt x="956973" y="4981208"/>
                </a:cubicBezTo>
                <a:close/>
                <a:moveTo>
                  <a:pt x="849075" y="4981208"/>
                </a:moveTo>
                <a:cubicBezTo>
                  <a:pt x="856804" y="4981208"/>
                  <a:pt x="863234" y="4986925"/>
                  <a:pt x="864326" y="4994332"/>
                </a:cubicBezTo>
                <a:lnTo>
                  <a:pt x="833824" y="4994332"/>
                </a:lnTo>
                <a:cubicBezTo>
                  <a:pt x="834917" y="4986925"/>
                  <a:pt x="841347" y="4981208"/>
                  <a:pt x="849075" y="4981208"/>
                </a:cubicBezTo>
                <a:close/>
                <a:moveTo>
                  <a:pt x="720494" y="4981208"/>
                </a:moveTo>
                <a:cubicBezTo>
                  <a:pt x="728999" y="4981208"/>
                  <a:pt x="735920" y="4988109"/>
                  <a:pt x="735920" y="4996575"/>
                </a:cubicBezTo>
                <a:lnTo>
                  <a:pt x="735920" y="5011957"/>
                </a:lnTo>
                <a:lnTo>
                  <a:pt x="720494" y="5011957"/>
                </a:lnTo>
                <a:cubicBezTo>
                  <a:pt x="712006" y="5011957"/>
                  <a:pt x="705085" y="5005040"/>
                  <a:pt x="705085" y="4996575"/>
                </a:cubicBezTo>
                <a:cubicBezTo>
                  <a:pt x="705085" y="4988109"/>
                  <a:pt x="712006" y="4981208"/>
                  <a:pt x="720494" y="4981208"/>
                </a:cubicBezTo>
                <a:close/>
                <a:moveTo>
                  <a:pt x="612644" y="4981208"/>
                </a:moveTo>
                <a:cubicBezTo>
                  <a:pt x="620373" y="4981208"/>
                  <a:pt x="626803" y="4986925"/>
                  <a:pt x="627895" y="4994332"/>
                </a:cubicBezTo>
                <a:lnTo>
                  <a:pt x="597393" y="4994332"/>
                </a:lnTo>
                <a:cubicBezTo>
                  <a:pt x="598470" y="4986925"/>
                  <a:pt x="604916" y="4981208"/>
                  <a:pt x="612644" y="4981208"/>
                </a:cubicBezTo>
                <a:close/>
                <a:moveTo>
                  <a:pt x="429630" y="4981208"/>
                </a:moveTo>
                <a:cubicBezTo>
                  <a:pt x="438136" y="4981208"/>
                  <a:pt x="445040" y="4988109"/>
                  <a:pt x="445040" y="4996575"/>
                </a:cubicBezTo>
                <a:lnTo>
                  <a:pt x="445040" y="5011957"/>
                </a:lnTo>
                <a:lnTo>
                  <a:pt x="429630" y="5011957"/>
                </a:lnTo>
                <a:cubicBezTo>
                  <a:pt x="421126" y="5011957"/>
                  <a:pt x="414221" y="5005040"/>
                  <a:pt x="414221" y="4996575"/>
                </a:cubicBezTo>
                <a:cubicBezTo>
                  <a:pt x="414221" y="4988109"/>
                  <a:pt x="421126" y="4981208"/>
                  <a:pt x="429630" y="4981208"/>
                </a:cubicBezTo>
                <a:close/>
                <a:moveTo>
                  <a:pt x="278514" y="4981208"/>
                </a:moveTo>
                <a:cubicBezTo>
                  <a:pt x="287003" y="4981208"/>
                  <a:pt x="293924" y="4988109"/>
                  <a:pt x="293924" y="4996575"/>
                </a:cubicBezTo>
                <a:lnTo>
                  <a:pt x="293924" y="5011957"/>
                </a:lnTo>
                <a:lnTo>
                  <a:pt x="278514" y="5011957"/>
                </a:lnTo>
                <a:cubicBezTo>
                  <a:pt x="270026" y="5011957"/>
                  <a:pt x="263105" y="5005040"/>
                  <a:pt x="263105" y="4996575"/>
                </a:cubicBezTo>
                <a:cubicBezTo>
                  <a:pt x="263105" y="4988109"/>
                  <a:pt x="270026" y="4981208"/>
                  <a:pt x="278514" y="4981208"/>
                </a:cubicBezTo>
                <a:close/>
                <a:moveTo>
                  <a:pt x="895050" y="4981207"/>
                </a:moveTo>
                <a:cubicBezTo>
                  <a:pt x="903555" y="4981207"/>
                  <a:pt x="910476" y="4988108"/>
                  <a:pt x="910476" y="4996574"/>
                </a:cubicBezTo>
                <a:lnTo>
                  <a:pt x="910476" y="5011957"/>
                </a:lnTo>
                <a:lnTo>
                  <a:pt x="895050" y="5011957"/>
                </a:lnTo>
                <a:cubicBezTo>
                  <a:pt x="886562" y="5011957"/>
                  <a:pt x="879642" y="5005039"/>
                  <a:pt x="879642" y="4996574"/>
                </a:cubicBezTo>
                <a:cubicBezTo>
                  <a:pt x="879642" y="4988108"/>
                  <a:pt x="886562" y="4981207"/>
                  <a:pt x="895050" y="4981207"/>
                </a:cubicBezTo>
                <a:close/>
                <a:moveTo>
                  <a:pt x="340880" y="4981207"/>
                </a:moveTo>
                <a:cubicBezTo>
                  <a:pt x="349369" y="4981207"/>
                  <a:pt x="356290" y="4988093"/>
                  <a:pt x="356290" y="4996574"/>
                </a:cubicBezTo>
                <a:cubicBezTo>
                  <a:pt x="356290" y="5005055"/>
                  <a:pt x="349369" y="5011957"/>
                  <a:pt x="340880" y="5011957"/>
                </a:cubicBezTo>
                <a:cubicBezTo>
                  <a:pt x="332392" y="5011957"/>
                  <a:pt x="325471" y="5005055"/>
                  <a:pt x="325471" y="4996574"/>
                </a:cubicBezTo>
                <a:cubicBezTo>
                  <a:pt x="325471" y="4988093"/>
                  <a:pt x="332392" y="4981207"/>
                  <a:pt x="340880" y="4981207"/>
                </a:cubicBezTo>
                <a:close/>
                <a:moveTo>
                  <a:pt x="550102" y="4976753"/>
                </a:moveTo>
                <a:lnTo>
                  <a:pt x="550102" y="5014199"/>
                </a:lnTo>
                <a:cubicBezTo>
                  <a:pt x="550102" y="5015431"/>
                  <a:pt x="551116" y="5016442"/>
                  <a:pt x="552351" y="5016442"/>
                </a:cubicBezTo>
                <a:cubicBezTo>
                  <a:pt x="553586" y="5016442"/>
                  <a:pt x="554600" y="5015431"/>
                  <a:pt x="554600" y="5014199"/>
                </a:cubicBezTo>
                <a:lnTo>
                  <a:pt x="554600" y="5000033"/>
                </a:lnTo>
                <a:lnTo>
                  <a:pt x="554600" y="4994947"/>
                </a:lnTo>
                <a:cubicBezTo>
                  <a:pt x="554600" y="4987382"/>
                  <a:pt x="560776" y="4981238"/>
                  <a:pt x="568362" y="4981238"/>
                </a:cubicBezTo>
                <a:cubicBezTo>
                  <a:pt x="575948" y="4981238"/>
                  <a:pt x="582125" y="4987398"/>
                  <a:pt x="582125" y="4994963"/>
                </a:cubicBezTo>
                <a:lnTo>
                  <a:pt x="582125" y="5014199"/>
                </a:lnTo>
                <a:cubicBezTo>
                  <a:pt x="582125" y="5015431"/>
                  <a:pt x="583138" y="5016442"/>
                  <a:pt x="584373" y="5016442"/>
                </a:cubicBezTo>
                <a:cubicBezTo>
                  <a:pt x="585609" y="5016442"/>
                  <a:pt x="586622" y="5015431"/>
                  <a:pt x="586622" y="5014199"/>
                </a:cubicBezTo>
                <a:lnTo>
                  <a:pt x="586622" y="4994963"/>
                </a:lnTo>
                <a:cubicBezTo>
                  <a:pt x="586622" y="4984918"/>
                  <a:pt x="578434" y="4976753"/>
                  <a:pt x="568378" y="4976753"/>
                </a:cubicBezTo>
                <a:lnTo>
                  <a:pt x="568362" y="4976753"/>
                </a:lnTo>
                <a:cubicBezTo>
                  <a:pt x="562867" y="4976753"/>
                  <a:pt x="557957" y="4979185"/>
                  <a:pt x="554600" y="4983007"/>
                </a:cubicBezTo>
                <a:lnTo>
                  <a:pt x="554600" y="4978996"/>
                </a:lnTo>
                <a:cubicBezTo>
                  <a:pt x="554600" y="4977748"/>
                  <a:pt x="553602" y="4976753"/>
                  <a:pt x="552351" y="4976753"/>
                </a:cubicBezTo>
                <a:close/>
                <a:moveTo>
                  <a:pt x="956973" y="4976738"/>
                </a:moveTo>
                <a:cubicBezTo>
                  <a:pt x="945998" y="4976738"/>
                  <a:pt x="937066" y="4985645"/>
                  <a:pt x="937066" y="4996590"/>
                </a:cubicBezTo>
                <a:cubicBezTo>
                  <a:pt x="937066" y="5007535"/>
                  <a:pt x="945998" y="5016443"/>
                  <a:pt x="956973" y="5016443"/>
                </a:cubicBezTo>
                <a:lnTo>
                  <a:pt x="976880" y="5016443"/>
                </a:lnTo>
                <a:lnTo>
                  <a:pt x="976880" y="4996590"/>
                </a:lnTo>
                <a:cubicBezTo>
                  <a:pt x="976880" y="4985645"/>
                  <a:pt x="967948" y="4976738"/>
                  <a:pt x="956973" y="4976738"/>
                </a:cubicBezTo>
                <a:close/>
                <a:moveTo>
                  <a:pt x="849075" y="4976738"/>
                </a:moveTo>
                <a:cubicBezTo>
                  <a:pt x="838100" y="4976738"/>
                  <a:pt x="829168" y="4985645"/>
                  <a:pt x="829168" y="4996590"/>
                </a:cubicBezTo>
                <a:cubicBezTo>
                  <a:pt x="829168" y="5007535"/>
                  <a:pt x="838100" y="5016443"/>
                  <a:pt x="849075" y="5016443"/>
                </a:cubicBezTo>
                <a:cubicBezTo>
                  <a:pt x="853525" y="5016443"/>
                  <a:pt x="857754" y="5015005"/>
                  <a:pt x="861270" y="5012289"/>
                </a:cubicBezTo>
                <a:cubicBezTo>
                  <a:pt x="862252" y="5011531"/>
                  <a:pt x="862426" y="5010125"/>
                  <a:pt x="861666" y="5009146"/>
                </a:cubicBezTo>
                <a:cubicBezTo>
                  <a:pt x="860905" y="5008167"/>
                  <a:pt x="859496" y="5008009"/>
                  <a:pt x="858514" y="5008751"/>
                </a:cubicBezTo>
                <a:cubicBezTo>
                  <a:pt x="855790" y="5010852"/>
                  <a:pt x="852528" y="5011973"/>
                  <a:pt x="849075" y="5011973"/>
                </a:cubicBezTo>
                <a:cubicBezTo>
                  <a:pt x="841347" y="5011973"/>
                  <a:pt x="834917" y="5006256"/>
                  <a:pt x="833824" y="4998833"/>
                </a:cubicBezTo>
                <a:lnTo>
                  <a:pt x="866733" y="4998833"/>
                </a:lnTo>
                <a:cubicBezTo>
                  <a:pt x="867969" y="4998833"/>
                  <a:pt x="868982" y="4997838"/>
                  <a:pt x="868982" y="4996590"/>
                </a:cubicBezTo>
                <a:cubicBezTo>
                  <a:pt x="868982" y="4985645"/>
                  <a:pt x="860050" y="4976738"/>
                  <a:pt x="849075" y="4976738"/>
                </a:cubicBezTo>
                <a:close/>
                <a:moveTo>
                  <a:pt x="720494" y="4976738"/>
                </a:moveTo>
                <a:cubicBezTo>
                  <a:pt x="709519" y="4976738"/>
                  <a:pt x="700587" y="4985645"/>
                  <a:pt x="700587" y="4996590"/>
                </a:cubicBezTo>
                <a:cubicBezTo>
                  <a:pt x="700587" y="5007535"/>
                  <a:pt x="709519" y="5016443"/>
                  <a:pt x="720494" y="5016443"/>
                </a:cubicBezTo>
                <a:lnTo>
                  <a:pt x="740417" y="5016443"/>
                </a:lnTo>
                <a:lnTo>
                  <a:pt x="740417" y="4996590"/>
                </a:lnTo>
                <a:cubicBezTo>
                  <a:pt x="740417" y="4985645"/>
                  <a:pt x="731469" y="4976738"/>
                  <a:pt x="720494" y="4976738"/>
                </a:cubicBezTo>
                <a:close/>
                <a:moveTo>
                  <a:pt x="612644" y="4976738"/>
                </a:moveTo>
                <a:cubicBezTo>
                  <a:pt x="601669" y="4976738"/>
                  <a:pt x="592737" y="4985645"/>
                  <a:pt x="592737" y="4996590"/>
                </a:cubicBezTo>
                <a:cubicBezTo>
                  <a:pt x="592737" y="5007535"/>
                  <a:pt x="601669" y="5016443"/>
                  <a:pt x="612644" y="5016443"/>
                </a:cubicBezTo>
                <a:cubicBezTo>
                  <a:pt x="617110" y="5016443"/>
                  <a:pt x="621323" y="5015005"/>
                  <a:pt x="624839" y="5012289"/>
                </a:cubicBezTo>
                <a:cubicBezTo>
                  <a:pt x="625821" y="5011531"/>
                  <a:pt x="625995" y="5010125"/>
                  <a:pt x="625235" y="5009146"/>
                </a:cubicBezTo>
                <a:cubicBezTo>
                  <a:pt x="624474" y="5008167"/>
                  <a:pt x="623065" y="5008009"/>
                  <a:pt x="622083" y="5008751"/>
                </a:cubicBezTo>
                <a:cubicBezTo>
                  <a:pt x="619359" y="5010852"/>
                  <a:pt x="616097" y="5011973"/>
                  <a:pt x="612644" y="5011973"/>
                </a:cubicBezTo>
                <a:cubicBezTo>
                  <a:pt x="604900" y="5011973"/>
                  <a:pt x="598470" y="5006256"/>
                  <a:pt x="597393" y="4998833"/>
                </a:cubicBezTo>
                <a:lnTo>
                  <a:pt x="630302" y="4998833"/>
                </a:lnTo>
                <a:cubicBezTo>
                  <a:pt x="631538" y="4998833"/>
                  <a:pt x="632551" y="4997838"/>
                  <a:pt x="632551" y="4996590"/>
                </a:cubicBezTo>
                <a:cubicBezTo>
                  <a:pt x="632551" y="4985645"/>
                  <a:pt x="623619" y="4976738"/>
                  <a:pt x="612644" y="4976738"/>
                </a:cubicBezTo>
                <a:close/>
                <a:moveTo>
                  <a:pt x="513329" y="4976738"/>
                </a:moveTo>
                <a:cubicBezTo>
                  <a:pt x="502354" y="4976738"/>
                  <a:pt x="493422" y="4985645"/>
                  <a:pt x="493422" y="4996590"/>
                </a:cubicBezTo>
                <a:cubicBezTo>
                  <a:pt x="493422" y="5007535"/>
                  <a:pt x="502354" y="5016443"/>
                  <a:pt x="513329" y="5016443"/>
                </a:cubicBezTo>
                <a:cubicBezTo>
                  <a:pt x="517938" y="5016443"/>
                  <a:pt x="522435" y="5014832"/>
                  <a:pt x="525999" y="5011894"/>
                </a:cubicBezTo>
                <a:cubicBezTo>
                  <a:pt x="526949" y="5011104"/>
                  <a:pt x="527092" y="5009699"/>
                  <a:pt x="526300" y="5008735"/>
                </a:cubicBezTo>
                <a:cubicBezTo>
                  <a:pt x="525508" y="5007788"/>
                  <a:pt x="524098" y="5007662"/>
                  <a:pt x="523132" y="5008435"/>
                </a:cubicBezTo>
                <a:cubicBezTo>
                  <a:pt x="520392" y="5010710"/>
                  <a:pt x="516892" y="5011957"/>
                  <a:pt x="513329" y="5011957"/>
                </a:cubicBezTo>
                <a:cubicBezTo>
                  <a:pt x="504825" y="5011957"/>
                  <a:pt x="497904" y="5005040"/>
                  <a:pt x="497904" y="4996575"/>
                </a:cubicBezTo>
                <a:cubicBezTo>
                  <a:pt x="497904" y="4988109"/>
                  <a:pt x="504825" y="4981208"/>
                  <a:pt x="513329" y="4981208"/>
                </a:cubicBezTo>
                <a:cubicBezTo>
                  <a:pt x="516892" y="4981208"/>
                  <a:pt x="520377" y="4982455"/>
                  <a:pt x="523132" y="4984729"/>
                </a:cubicBezTo>
                <a:cubicBezTo>
                  <a:pt x="524098" y="4985519"/>
                  <a:pt x="525508" y="4985393"/>
                  <a:pt x="526300" y="4984429"/>
                </a:cubicBezTo>
                <a:cubicBezTo>
                  <a:pt x="527092" y="4983466"/>
                  <a:pt x="526965" y="4982060"/>
                  <a:pt x="525999" y="4981271"/>
                </a:cubicBezTo>
                <a:cubicBezTo>
                  <a:pt x="522451" y="4978349"/>
                  <a:pt x="517938" y="4976738"/>
                  <a:pt x="513329" y="4976738"/>
                </a:cubicBezTo>
                <a:close/>
                <a:moveTo>
                  <a:pt x="429646" y="4976738"/>
                </a:moveTo>
                <a:cubicBezTo>
                  <a:pt x="418687" y="4976738"/>
                  <a:pt x="409739" y="4985645"/>
                  <a:pt x="409739" y="4996590"/>
                </a:cubicBezTo>
                <a:cubicBezTo>
                  <a:pt x="409739" y="5007535"/>
                  <a:pt x="418671" y="5016443"/>
                  <a:pt x="429646" y="5016443"/>
                </a:cubicBezTo>
                <a:lnTo>
                  <a:pt x="449553" y="5016443"/>
                </a:lnTo>
                <a:lnTo>
                  <a:pt x="449553" y="4996590"/>
                </a:lnTo>
                <a:cubicBezTo>
                  <a:pt x="449553" y="4985645"/>
                  <a:pt x="440605" y="4976738"/>
                  <a:pt x="429646" y="4976738"/>
                </a:cubicBezTo>
                <a:close/>
                <a:moveTo>
                  <a:pt x="926059" y="4976722"/>
                </a:moveTo>
                <a:cubicBezTo>
                  <a:pt x="924824" y="4976722"/>
                  <a:pt x="923810" y="4977717"/>
                  <a:pt x="923810" y="4978965"/>
                </a:cubicBezTo>
                <a:lnTo>
                  <a:pt x="923810" y="5014200"/>
                </a:lnTo>
                <a:cubicBezTo>
                  <a:pt x="923810" y="5015432"/>
                  <a:pt x="924824" y="5016442"/>
                  <a:pt x="926059" y="5016442"/>
                </a:cubicBezTo>
                <a:cubicBezTo>
                  <a:pt x="927294" y="5016442"/>
                  <a:pt x="928292" y="5015432"/>
                  <a:pt x="928292" y="5014200"/>
                </a:cubicBezTo>
                <a:lnTo>
                  <a:pt x="928292" y="4978965"/>
                </a:lnTo>
                <a:cubicBezTo>
                  <a:pt x="928292" y="4977717"/>
                  <a:pt x="927294" y="4976722"/>
                  <a:pt x="926059" y="4976722"/>
                </a:cubicBezTo>
                <a:close/>
                <a:moveTo>
                  <a:pt x="539730" y="4976722"/>
                </a:moveTo>
                <a:cubicBezTo>
                  <a:pt x="538495" y="4976722"/>
                  <a:pt x="537481" y="4977717"/>
                  <a:pt x="537481" y="4978965"/>
                </a:cubicBezTo>
                <a:lnTo>
                  <a:pt x="537481" y="5014200"/>
                </a:lnTo>
                <a:cubicBezTo>
                  <a:pt x="537481" y="5015432"/>
                  <a:pt x="538479" y="5016442"/>
                  <a:pt x="539730" y="5016442"/>
                </a:cubicBezTo>
                <a:cubicBezTo>
                  <a:pt x="540981" y="5016442"/>
                  <a:pt x="541979" y="5015432"/>
                  <a:pt x="541979" y="5014200"/>
                </a:cubicBezTo>
                <a:lnTo>
                  <a:pt x="541979" y="4978965"/>
                </a:lnTo>
                <a:cubicBezTo>
                  <a:pt x="541979" y="4977717"/>
                  <a:pt x="540965" y="4976722"/>
                  <a:pt x="539730" y="4976722"/>
                </a:cubicBezTo>
                <a:close/>
                <a:moveTo>
                  <a:pt x="371984" y="4976722"/>
                </a:moveTo>
                <a:cubicBezTo>
                  <a:pt x="370749" y="4976722"/>
                  <a:pt x="369735" y="4977717"/>
                  <a:pt x="369735" y="4978965"/>
                </a:cubicBezTo>
                <a:lnTo>
                  <a:pt x="369735" y="5014200"/>
                </a:lnTo>
                <a:cubicBezTo>
                  <a:pt x="369735" y="5015432"/>
                  <a:pt x="370749" y="5016442"/>
                  <a:pt x="371984" y="5016442"/>
                </a:cubicBezTo>
                <a:cubicBezTo>
                  <a:pt x="373235" y="5016442"/>
                  <a:pt x="374233" y="5015432"/>
                  <a:pt x="374233" y="5014200"/>
                </a:cubicBezTo>
                <a:lnTo>
                  <a:pt x="374233" y="4978965"/>
                </a:lnTo>
                <a:cubicBezTo>
                  <a:pt x="374233" y="4977717"/>
                  <a:pt x="373219" y="4976722"/>
                  <a:pt x="371984" y="4976722"/>
                </a:cubicBezTo>
                <a:close/>
                <a:moveTo>
                  <a:pt x="340880" y="4976722"/>
                </a:moveTo>
                <a:cubicBezTo>
                  <a:pt x="329905" y="4976722"/>
                  <a:pt x="320973" y="4985629"/>
                  <a:pt x="320973" y="4996574"/>
                </a:cubicBezTo>
                <a:cubicBezTo>
                  <a:pt x="320973" y="5007519"/>
                  <a:pt x="329905" y="5016427"/>
                  <a:pt x="340880" y="5016427"/>
                </a:cubicBezTo>
                <a:cubicBezTo>
                  <a:pt x="347072" y="5016427"/>
                  <a:pt x="352631" y="5013584"/>
                  <a:pt x="356290" y="5009130"/>
                </a:cubicBezTo>
                <a:lnTo>
                  <a:pt x="356290" y="5014200"/>
                </a:lnTo>
                <a:cubicBezTo>
                  <a:pt x="356290" y="5022665"/>
                  <a:pt x="349369" y="5029567"/>
                  <a:pt x="340880" y="5029567"/>
                </a:cubicBezTo>
                <a:cubicBezTo>
                  <a:pt x="334704" y="5029567"/>
                  <a:pt x="329145" y="5025919"/>
                  <a:pt x="326706" y="5020264"/>
                </a:cubicBezTo>
                <a:cubicBezTo>
                  <a:pt x="326215" y="5019127"/>
                  <a:pt x="324901" y="5018606"/>
                  <a:pt x="323744" y="5019096"/>
                </a:cubicBezTo>
                <a:cubicBezTo>
                  <a:pt x="322620" y="5019585"/>
                  <a:pt x="322082" y="5020896"/>
                  <a:pt x="322573" y="5022049"/>
                </a:cubicBezTo>
                <a:cubicBezTo>
                  <a:pt x="325724" y="5029346"/>
                  <a:pt x="332898" y="5034068"/>
                  <a:pt x="340880" y="5034068"/>
                </a:cubicBezTo>
                <a:cubicBezTo>
                  <a:pt x="351855" y="5034068"/>
                  <a:pt x="360787" y="5025160"/>
                  <a:pt x="360787" y="5014216"/>
                </a:cubicBezTo>
                <a:lnTo>
                  <a:pt x="360787" y="4996590"/>
                </a:lnTo>
                <a:cubicBezTo>
                  <a:pt x="360787" y="4985645"/>
                  <a:pt x="351855" y="4976738"/>
                  <a:pt x="340880" y="4976738"/>
                </a:cubicBezTo>
                <a:close/>
                <a:moveTo>
                  <a:pt x="309475" y="4976722"/>
                </a:moveTo>
                <a:cubicBezTo>
                  <a:pt x="308240" y="4976722"/>
                  <a:pt x="307242" y="4977717"/>
                  <a:pt x="307242" y="4978965"/>
                </a:cubicBezTo>
                <a:lnTo>
                  <a:pt x="307242" y="5014200"/>
                </a:lnTo>
                <a:cubicBezTo>
                  <a:pt x="307242" y="5015432"/>
                  <a:pt x="308240" y="5016442"/>
                  <a:pt x="309475" y="5016442"/>
                </a:cubicBezTo>
                <a:cubicBezTo>
                  <a:pt x="310726" y="5016442"/>
                  <a:pt x="311724" y="5015432"/>
                  <a:pt x="311724" y="5014200"/>
                </a:cubicBezTo>
                <a:lnTo>
                  <a:pt x="311724" y="4978965"/>
                </a:lnTo>
                <a:cubicBezTo>
                  <a:pt x="311724" y="4977717"/>
                  <a:pt x="310710" y="4976722"/>
                  <a:pt x="309475" y="4976722"/>
                </a:cubicBezTo>
                <a:close/>
                <a:moveTo>
                  <a:pt x="782400" y="4976706"/>
                </a:moveTo>
                <a:cubicBezTo>
                  <a:pt x="778124" y="4976706"/>
                  <a:pt x="774244" y="4978459"/>
                  <a:pt x="771441" y="4981270"/>
                </a:cubicBezTo>
                <a:lnTo>
                  <a:pt x="771441" y="4978996"/>
                </a:lnTo>
                <a:cubicBezTo>
                  <a:pt x="771441" y="4977748"/>
                  <a:pt x="770443" y="4976753"/>
                  <a:pt x="769192" y="4976753"/>
                </a:cubicBezTo>
                <a:lnTo>
                  <a:pt x="766943" y="4976753"/>
                </a:lnTo>
                <a:lnTo>
                  <a:pt x="766943" y="4978996"/>
                </a:lnTo>
                <a:lnTo>
                  <a:pt x="766943" y="5014200"/>
                </a:lnTo>
                <a:cubicBezTo>
                  <a:pt x="766943" y="5015431"/>
                  <a:pt x="767957" y="5016442"/>
                  <a:pt x="769192" y="5016442"/>
                </a:cubicBezTo>
                <a:cubicBezTo>
                  <a:pt x="770427" y="5016442"/>
                  <a:pt x="771441" y="5015431"/>
                  <a:pt x="771441" y="5014200"/>
                </a:cubicBezTo>
                <a:lnTo>
                  <a:pt x="771441" y="4992136"/>
                </a:lnTo>
                <a:cubicBezTo>
                  <a:pt x="771441" y="4986103"/>
                  <a:pt x="776350" y="4981207"/>
                  <a:pt x="782400" y="4981207"/>
                </a:cubicBezTo>
                <a:cubicBezTo>
                  <a:pt x="788450" y="4981207"/>
                  <a:pt x="793359" y="4986119"/>
                  <a:pt x="793359" y="4992136"/>
                </a:cubicBezTo>
                <a:lnTo>
                  <a:pt x="793359" y="5014200"/>
                </a:lnTo>
                <a:cubicBezTo>
                  <a:pt x="793359" y="5015431"/>
                  <a:pt x="794373" y="5016442"/>
                  <a:pt x="795608" y="5016442"/>
                </a:cubicBezTo>
                <a:cubicBezTo>
                  <a:pt x="796843" y="5016442"/>
                  <a:pt x="797857" y="5015431"/>
                  <a:pt x="797857" y="5014200"/>
                </a:cubicBezTo>
                <a:lnTo>
                  <a:pt x="797857" y="4992136"/>
                </a:lnTo>
                <a:cubicBezTo>
                  <a:pt x="797857" y="4986103"/>
                  <a:pt x="802782" y="4981207"/>
                  <a:pt x="808816" y="4981207"/>
                </a:cubicBezTo>
                <a:cubicBezTo>
                  <a:pt x="814850" y="4981207"/>
                  <a:pt x="819775" y="4986119"/>
                  <a:pt x="819775" y="4992136"/>
                </a:cubicBezTo>
                <a:lnTo>
                  <a:pt x="819775" y="5014200"/>
                </a:lnTo>
                <a:cubicBezTo>
                  <a:pt x="819775" y="5015431"/>
                  <a:pt x="820789" y="5016442"/>
                  <a:pt x="822024" y="5016442"/>
                </a:cubicBezTo>
                <a:cubicBezTo>
                  <a:pt x="823260" y="5016442"/>
                  <a:pt x="824273" y="5015431"/>
                  <a:pt x="824273" y="5014200"/>
                </a:cubicBezTo>
                <a:lnTo>
                  <a:pt x="824273" y="4992136"/>
                </a:lnTo>
                <a:cubicBezTo>
                  <a:pt x="824273" y="4987888"/>
                  <a:pt x="822539" y="4984030"/>
                  <a:pt x="819740" y="4981235"/>
                </a:cubicBezTo>
                <a:lnTo>
                  <a:pt x="808825" y="4976710"/>
                </a:lnTo>
                <a:lnTo>
                  <a:pt x="808832" y="4976706"/>
                </a:lnTo>
                <a:lnTo>
                  <a:pt x="808816" y="4976706"/>
                </a:lnTo>
                <a:lnTo>
                  <a:pt x="808825" y="4976710"/>
                </a:lnTo>
                <a:lnTo>
                  <a:pt x="795624" y="4984160"/>
                </a:lnTo>
                <a:cubicBezTo>
                  <a:pt x="792916" y="4979707"/>
                  <a:pt x="788006" y="4976706"/>
                  <a:pt x="782400" y="4976706"/>
                </a:cubicBezTo>
                <a:close/>
                <a:moveTo>
                  <a:pt x="653075" y="4976706"/>
                </a:moveTo>
                <a:cubicBezTo>
                  <a:pt x="648783" y="4976706"/>
                  <a:pt x="644919" y="4978459"/>
                  <a:pt x="642116" y="4981270"/>
                </a:cubicBezTo>
                <a:lnTo>
                  <a:pt x="642116" y="4978996"/>
                </a:lnTo>
                <a:cubicBezTo>
                  <a:pt x="642116" y="4977748"/>
                  <a:pt x="641102" y="4976753"/>
                  <a:pt x="639867" y="4976753"/>
                </a:cubicBezTo>
                <a:lnTo>
                  <a:pt x="637618" y="4976753"/>
                </a:lnTo>
                <a:lnTo>
                  <a:pt x="637618" y="4978996"/>
                </a:lnTo>
                <a:lnTo>
                  <a:pt x="637618" y="5014200"/>
                </a:lnTo>
                <a:cubicBezTo>
                  <a:pt x="637618" y="5015431"/>
                  <a:pt x="638632" y="5016442"/>
                  <a:pt x="639867" y="5016442"/>
                </a:cubicBezTo>
                <a:cubicBezTo>
                  <a:pt x="641102" y="5016442"/>
                  <a:pt x="642116" y="5015431"/>
                  <a:pt x="642116" y="5014200"/>
                </a:cubicBezTo>
                <a:lnTo>
                  <a:pt x="642116" y="4992136"/>
                </a:lnTo>
                <a:cubicBezTo>
                  <a:pt x="642116" y="4986103"/>
                  <a:pt x="647025" y="4981207"/>
                  <a:pt x="653075" y="4981207"/>
                </a:cubicBezTo>
                <a:cubicBezTo>
                  <a:pt x="659125" y="4981207"/>
                  <a:pt x="664034" y="4986119"/>
                  <a:pt x="664034" y="4992136"/>
                </a:cubicBezTo>
                <a:lnTo>
                  <a:pt x="664034" y="5014200"/>
                </a:lnTo>
                <a:cubicBezTo>
                  <a:pt x="664034" y="5015431"/>
                  <a:pt x="665048" y="5016442"/>
                  <a:pt x="666283" y="5016442"/>
                </a:cubicBezTo>
                <a:cubicBezTo>
                  <a:pt x="667518" y="5016442"/>
                  <a:pt x="668532" y="5015431"/>
                  <a:pt x="668532" y="5014200"/>
                </a:cubicBezTo>
                <a:lnTo>
                  <a:pt x="668532" y="4992136"/>
                </a:lnTo>
                <a:cubicBezTo>
                  <a:pt x="668532" y="4986103"/>
                  <a:pt x="673441" y="4981207"/>
                  <a:pt x="679491" y="4981207"/>
                </a:cubicBezTo>
                <a:cubicBezTo>
                  <a:pt x="685541" y="4981207"/>
                  <a:pt x="690450" y="4986119"/>
                  <a:pt x="690450" y="4992136"/>
                </a:cubicBezTo>
                <a:lnTo>
                  <a:pt x="690450" y="5014200"/>
                </a:lnTo>
                <a:cubicBezTo>
                  <a:pt x="690450" y="5015431"/>
                  <a:pt x="691464" y="5016442"/>
                  <a:pt x="692715" y="5016442"/>
                </a:cubicBezTo>
                <a:cubicBezTo>
                  <a:pt x="693966" y="5016442"/>
                  <a:pt x="694948" y="5015431"/>
                  <a:pt x="694948" y="5014200"/>
                </a:cubicBezTo>
                <a:lnTo>
                  <a:pt x="694948" y="4992136"/>
                </a:lnTo>
                <a:cubicBezTo>
                  <a:pt x="694948" y="4983639"/>
                  <a:pt x="688012" y="4976706"/>
                  <a:pt x="679491" y="4976706"/>
                </a:cubicBezTo>
                <a:cubicBezTo>
                  <a:pt x="673901" y="4976706"/>
                  <a:pt x="669007" y="4979707"/>
                  <a:pt x="666283" y="4984160"/>
                </a:cubicBezTo>
                <a:cubicBezTo>
                  <a:pt x="663575" y="4979707"/>
                  <a:pt x="658665" y="4976706"/>
                  <a:pt x="653075" y="4976706"/>
                </a:cubicBezTo>
                <a:close/>
                <a:moveTo>
                  <a:pt x="923810" y="4964687"/>
                </a:moveTo>
                <a:lnTo>
                  <a:pt x="923810" y="4966930"/>
                </a:lnTo>
                <a:cubicBezTo>
                  <a:pt x="923810" y="4968162"/>
                  <a:pt x="924823" y="4969172"/>
                  <a:pt x="926059" y="4969172"/>
                </a:cubicBezTo>
                <a:cubicBezTo>
                  <a:pt x="927293" y="4969172"/>
                  <a:pt x="928292" y="4968162"/>
                  <a:pt x="928292" y="4966930"/>
                </a:cubicBezTo>
                <a:cubicBezTo>
                  <a:pt x="928292" y="4965698"/>
                  <a:pt x="927293" y="4964687"/>
                  <a:pt x="926059" y="4964687"/>
                </a:cubicBezTo>
                <a:close/>
                <a:moveTo>
                  <a:pt x="537481" y="4964687"/>
                </a:moveTo>
                <a:lnTo>
                  <a:pt x="537481" y="4966930"/>
                </a:lnTo>
                <a:cubicBezTo>
                  <a:pt x="537481" y="4968162"/>
                  <a:pt x="538494" y="4969172"/>
                  <a:pt x="539730" y="4969172"/>
                </a:cubicBezTo>
                <a:cubicBezTo>
                  <a:pt x="540964" y="4969172"/>
                  <a:pt x="541979" y="4968162"/>
                  <a:pt x="541979" y="4966930"/>
                </a:cubicBezTo>
                <a:cubicBezTo>
                  <a:pt x="541979" y="4965698"/>
                  <a:pt x="540964" y="4964687"/>
                  <a:pt x="539730" y="4964687"/>
                </a:cubicBezTo>
                <a:close/>
                <a:moveTo>
                  <a:pt x="369734" y="4964687"/>
                </a:moveTo>
                <a:lnTo>
                  <a:pt x="369734" y="4966930"/>
                </a:lnTo>
                <a:cubicBezTo>
                  <a:pt x="369734" y="4968162"/>
                  <a:pt x="370748" y="4969172"/>
                  <a:pt x="371983" y="4969172"/>
                </a:cubicBezTo>
                <a:cubicBezTo>
                  <a:pt x="373219" y="4969172"/>
                  <a:pt x="374232" y="4968162"/>
                  <a:pt x="374232" y="4966930"/>
                </a:cubicBezTo>
                <a:cubicBezTo>
                  <a:pt x="374232" y="4965698"/>
                  <a:pt x="373235" y="4964687"/>
                  <a:pt x="371983" y="4964687"/>
                </a:cubicBezTo>
                <a:close/>
                <a:moveTo>
                  <a:pt x="307225" y="4964687"/>
                </a:moveTo>
                <a:lnTo>
                  <a:pt x="307225" y="4966930"/>
                </a:lnTo>
                <a:cubicBezTo>
                  <a:pt x="307225" y="4968162"/>
                  <a:pt x="308239" y="4969172"/>
                  <a:pt x="309474" y="4969172"/>
                </a:cubicBezTo>
                <a:cubicBezTo>
                  <a:pt x="310709" y="4969172"/>
                  <a:pt x="311707" y="4968162"/>
                  <a:pt x="311707" y="4966930"/>
                </a:cubicBezTo>
                <a:cubicBezTo>
                  <a:pt x="311707" y="4965698"/>
                  <a:pt x="310709" y="4964687"/>
                  <a:pt x="309474" y="4964687"/>
                </a:cubicBezTo>
                <a:close/>
                <a:moveTo>
                  <a:pt x="912708" y="4959933"/>
                </a:moveTo>
                <a:cubicBezTo>
                  <a:pt x="911473" y="4959933"/>
                  <a:pt x="910460" y="4960928"/>
                  <a:pt x="910460" y="4962176"/>
                </a:cubicBezTo>
                <a:lnTo>
                  <a:pt x="910460" y="4984034"/>
                </a:lnTo>
                <a:cubicBezTo>
                  <a:pt x="906801" y="4979580"/>
                  <a:pt x="901242" y="4976737"/>
                  <a:pt x="895034" y="4976737"/>
                </a:cubicBezTo>
                <a:cubicBezTo>
                  <a:pt x="884059" y="4976737"/>
                  <a:pt x="875127" y="4985645"/>
                  <a:pt x="875127" y="4996590"/>
                </a:cubicBezTo>
                <a:cubicBezTo>
                  <a:pt x="875127" y="5007534"/>
                  <a:pt x="884059" y="5016442"/>
                  <a:pt x="895034" y="5016442"/>
                </a:cubicBezTo>
                <a:lnTo>
                  <a:pt x="914958" y="5016442"/>
                </a:lnTo>
                <a:lnTo>
                  <a:pt x="914958" y="4962176"/>
                </a:lnTo>
                <a:cubicBezTo>
                  <a:pt x="914958" y="4960928"/>
                  <a:pt x="913944" y="4959933"/>
                  <a:pt x="912708" y="4959933"/>
                </a:cubicBezTo>
                <a:close/>
                <a:moveTo>
                  <a:pt x="457694" y="4959933"/>
                </a:moveTo>
                <a:cubicBezTo>
                  <a:pt x="456458" y="4959933"/>
                  <a:pt x="455445" y="4960928"/>
                  <a:pt x="455445" y="4962176"/>
                </a:cubicBezTo>
                <a:lnTo>
                  <a:pt x="455445" y="5010772"/>
                </a:lnTo>
                <a:cubicBezTo>
                  <a:pt x="455445" y="5013899"/>
                  <a:pt x="457995" y="5016442"/>
                  <a:pt x="461129" y="5016442"/>
                </a:cubicBezTo>
                <a:cubicBezTo>
                  <a:pt x="462382" y="5016442"/>
                  <a:pt x="463379" y="5015447"/>
                  <a:pt x="463379" y="5014199"/>
                </a:cubicBezTo>
                <a:cubicBezTo>
                  <a:pt x="463379" y="5012951"/>
                  <a:pt x="462382" y="5011957"/>
                  <a:pt x="461129" y="5011957"/>
                </a:cubicBezTo>
                <a:cubicBezTo>
                  <a:pt x="460481" y="5011957"/>
                  <a:pt x="459943" y="5011435"/>
                  <a:pt x="459943" y="5010772"/>
                </a:cubicBezTo>
                <a:lnTo>
                  <a:pt x="459943" y="4962176"/>
                </a:lnTo>
                <a:cubicBezTo>
                  <a:pt x="459943" y="4960928"/>
                  <a:pt x="458929" y="4959933"/>
                  <a:pt x="457694" y="4959933"/>
                </a:cubicBezTo>
                <a:close/>
                <a:moveTo>
                  <a:pt x="391621" y="4959918"/>
                </a:moveTo>
                <a:cubicBezTo>
                  <a:pt x="390387" y="4959918"/>
                  <a:pt x="389372" y="4960913"/>
                  <a:pt x="389372" y="4962161"/>
                </a:cubicBezTo>
                <a:lnTo>
                  <a:pt x="389372" y="4976722"/>
                </a:lnTo>
                <a:lnTo>
                  <a:pt x="385604" y="4976722"/>
                </a:lnTo>
                <a:cubicBezTo>
                  <a:pt x="384368" y="4976722"/>
                  <a:pt x="383355" y="4977717"/>
                  <a:pt x="383355" y="4978965"/>
                </a:cubicBezTo>
                <a:cubicBezTo>
                  <a:pt x="383355" y="4980213"/>
                  <a:pt x="384368" y="4981208"/>
                  <a:pt x="385604" y="4981208"/>
                </a:cubicBezTo>
                <a:lnTo>
                  <a:pt x="389372" y="4981208"/>
                </a:lnTo>
                <a:lnTo>
                  <a:pt x="389372" y="5004519"/>
                </a:lnTo>
                <a:cubicBezTo>
                  <a:pt x="389372" y="5011089"/>
                  <a:pt x="394726" y="5016427"/>
                  <a:pt x="401314" y="5016427"/>
                </a:cubicBezTo>
                <a:cubicBezTo>
                  <a:pt x="402217" y="5016427"/>
                  <a:pt x="403104" y="5016332"/>
                  <a:pt x="403974" y="5016127"/>
                </a:cubicBezTo>
                <a:lnTo>
                  <a:pt x="405661" y="5013454"/>
                </a:lnTo>
                <a:lnTo>
                  <a:pt x="405668" y="5013458"/>
                </a:lnTo>
                <a:lnTo>
                  <a:pt x="405668" y="5013442"/>
                </a:lnTo>
                <a:lnTo>
                  <a:pt x="405661" y="5013454"/>
                </a:lnTo>
                <a:lnTo>
                  <a:pt x="402977" y="5011768"/>
                </a:lnTo>
                <a:cubicBezTo>
                  <a:pt x="402438" y="5011894"/>
                  <a:pt x="401883" y="5011957"/>
                  <a:pt x="401314" y="5011957"/>
                </a:cubicBezTo>
                <a:cubicBezTo>
                  <a:pt x="397212" y="5011957"/>
                  <a:pt x="393870" y="5008625"/>
                  <a:pt x="393870" y="5004519"/>
                </a:cubicBezTo>
                <a:lnTo>
                  <a:pt x="393870" y="4981208"/>
                </a:lnTo>
                <a:lnTo>
                  <a:pt x="400205" y="4981208"/>
                </a:lnTo>
                <a:cubicBezTo>
                  <a:pt x="401457" y="4981208"/>
                  <a:pt x="402453" y="4980197"/>
                  <a:pt x="402453" y="4978965"/>
                </a:cubicBezTo>
                <a:cubicBezTo>
                  <a:pt x="402453" y="4977733"/>
                  <a:pt x="401457" y="4976722"/>
                  <a:pt x="400205" y="4976722"/>
                </a:cubicBezTo>
                <a:lnTo>
                  <a:pt x="393870" y="4976722"/>
                </a:lnTo>
                <a:lnTo>
                  <a:pt x="393870" y="4962161"/>
                </a:lnTo>
                <a:cubicBezTo>
                  <a:pt x="393870" y="4960913"/>
                  <a:pt x="392857" y="4959918"/>
                  <a:pt x="391621" y="4959918"/>
                </a:cubicBezTo>
                <a:close/>
                <a:moveTo>
                  <a:pt x="296172" y="4959918"/>
                </a:moveTo>
                <a:cubicBezTo>
                  <a:pt x="294937" y="4959918"/>
                  <a:pt x="293924" y="4960913"/>
                  <a:pt x="293924" y="4962161"/>
                </a:cubicBezTo>
                <a:lnTo>
                  <a:pt x="293924" y="4984019"/>
                </a:lnTo>
                <a:cubicBezTo>
                  <a:pt x="290281" y="4979565"/>
                  <a:pt x="284722" y="4976722"/>
                  <a:pt x="278514" y="4976722"/>
                </a:cubicBezTo>
                <a:cubicBezTo>
                  <a:pt x="267539" y="4976722"/>
                  <a:pt x="258607" y="4985614"/>
                  <a:pt x="258607" y="4996575"/>
                </a:cubicBezTo>
                <a:cubicBezTo>
                  <a:pt x="258607" y="5007535"/>
                  <a:pt x="267539" y="5016443"/>
                  <a:pt x="278514" y="5016443"/>
                </a:cubicBezTo>
                <a:lnTo>
                  <a:pt x="298421" y="5016443"/>
                </a:lnTo>
                <a:lnTo>
                  <a:pt x="298421" y="5016427"/>
                </a:lnTo>
                <a:lnTo>
                  <a:pt x="298421" y="4962161"/>
                </a:lnTo>
                <a:cubicBezTo>
                  <a:pt x="298421" y="4960913"/>
                  <a:pt x="297408" y="4959918"/>
                  <a:pt x="296172" y="4959918"/>
                </a:cubicBezTo>
                <a:close/>
                <a:moveTo>
                  <a:pt x="533784" y="4855026"/>
                </a:moveTo>
                <a:lnTo>
                  <a:pt x="533792" y="4855066"/>
                </a:lnTo>
                <a:lnTo>
                  <a:pt x="533784" y="4855107"/>
                </a:lnTo>
                <a:lnTo>
                  <a:pt x="533776" y="4855066"/>
                </a:lnTo>
                <a:close/>
                <a:moveTo>
                  <a:pt x="258607" y="4785164"/>
                </a:moveTo>
                <a:lnTo>
                  <a:pt x="258607" y="4855066"/>
                </a:lnTo>
                <a:cubicBezTo>
                  <a:pt x="258607" y="4893681"/>
                  <a:pt x="289410" y="4924983"/>
                  <a:pt x="327403" y="4924983"/>
                </a:cubicBezTo>
                <a:cubicBezTo>
                  <a:pt x="365396" y="4924983"/>
                  <a:pt x="396200" y="4893696"/>
                  <a:pt x="396200" y="4855066"/>
                </a:cubicBezTo>
                <a:cubicBezTo>
                  <a:pt x="396200" y="4893681"/>
                  <a:pt x="427003" y="4924983"/>
                  <a:pt x="464995" y="4924983"/>
                </a:cubicBezTo>
                <a:cubicBezTo>
                  <a:pt x="493490" y="4924983"/>
                  <a:pt x="517941" y="4907384"/>
                  <a:pt x="528386" y="4882288"/>
                </a:cubicBezTo>
                <a:lnTo>
                  <a:pt x="533784" y="4855107"/>
                </a:lnTo>
                <a:lnTo>
                  <a:pt x="539181" y="4882281"/>
                </a:lnTo>
                <a:cubicBezTo>
                  <a:pt x="549621" y="4907376"/>
                  <a:pt x="574066" y="4924983"/>
                  <a:pt x="602573" y="4924983"/>
                </a:cubicBezTo>
                <a:cubicBezTo>
                  <a:pt x="615116" y="4924983"/>
                  <a:pt x="626866" y="4921572"/>
                  <a:pt x="636971" y="4915618"/>
                </a:cubicBezTo>
                <a:cubicBezTo>
                  <a:pt x="647107" y="4921572"/>
                  <a:pt x="658842" y="4924983"/>
                  <a:pt x="671369" y="4924983"/>
                </a:cubicBezTo>
                <a:cubicBezTo>
                  <a:pt x="709361" y="4924983"/>
                  <a:pt x="740164" y="4893696"/>
                  <a:pt x="740164" y="4855066"/>
                </a:cubicBezTo>
                <a:cubicBezTo>
                  <a:pt x="740164" y="4816435"/>
                  <a:pt x="709377" y="4785164"/>
                  <a:pt x="671385" y="4785164"/>
                </a:cubicBezTo>
                <a:cubicBezTo>
                  <a:pt x="658858" y="4785164"/>
                  <a:pt x="647122" y="4788560"/>
                  <a:pt x="636987" y="4794514"/>
                </a:cubicBezTo>
                <a:lnTo>
                  <a:pt x="636971" y="4794514"/>
                </a:lnTo>
                <a:cubicBezTo>
                  <a:pt x="626866" y="4788575"/>
                  <a:pt x="615116" y="4785164"/>
                  <a:pt x="602573" y="4785164"/>
                </a:cubicBezTo>
                <a:cubicBezTo>
                  <a:pt x="574066" y="4785164"/>
                  <a:pt x="549621" y="4802763"/>
                  <a:pt x="539181" y="4827853"/>
                </a:cubicBezTo>
                <a:lnTo>
                  <a:pt x="533784" y="4855026"/>
                </a:lnTo>
                <a:lnTo>
                  <a:pt x="528384" y="4827847"/>
                </a:lnTo>
                <a:cubicBezTo>
                  <a:pt x="517936" y="4802754"/>
                  <a:pt x="493479" y="4785164"/>
                  <a:pt x="464995" y="4785164"/>
                </a:cubicBezTo>
                <a:cubicBezTo>
                  <a:pt x="427019" y="4785164"/>
                  <a:pt x="396200" y="4816451"/>
                  <a:pt x="396200" y="4855066"/>
                </a:cubicBezTo>
                <a:cubicBezTo>
                  <a:pt x="396200" y="4816435"/>
                  <a:pt x="365396" y="4785164"/>
                  <a:pt x="327403" y="4785164"/>
                </a:cubicBezTo>
                <a:close/>
                <a:moveTo>
                  <a:pt x="0" y="0"/>
                </a:moveTo>
                <a:lnTo>
                  <a:pt x="4229098" y="0"/>
                </a:lnTo>
                <a:lnTo>
                  <a:pt x="4229098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62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EBEB7-FAC3-F033-F516-A56A7CEAE2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82;p14">
            <a:extLst>
              <a:ext uri="{FF2B5EF4-FFF2-40B4-BE49-F238E27FC236}">
                <a16:creationId xmlns:a16="http://schemas.microsoft.com/office/drawing/2014/main" id="{7A0C9B0E-21D4-D22D-8F6A-05A38BA6D55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1311275"/>
            <a:ext cx="8520600" cy="2124728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8" name="Google Shape;83;p14">
            <a:extLst>
              <a:ext uri="{FF2B5EF4-FFF2-40B4-BE49-F238E27FC236}">
                <a16:creationId xmlns:a16="http://schemas.microsoft.com/office/drawing/2014/main" id="{13410EC2-39E2-A172-91C3-2C632DDAD9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11413" y="3436003"/>
            <a:ext cx="4356100" cy="1300800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FC5E7E5-589B-B6F8-8BE8-C69DD2B3CD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261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B5DB5E7F-D77F-A18C-827D-2853C7633E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23891" y="3302278"/>
            <a:ext cx="3149848" cy="792600"/>
          </a:xfrm>
          <a:prstGeom prst="rect">
            <a:avLst/>
          </a:prstGeom>
        </p:spPr>
        <p:txBody>
          <a:bodyPr spcFirstLastPara="1" wrap="none" lIns="0" tIns="91425" rIns="91425" bIns="9142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Google Shape;22;p4">
            <a:extLst>
              <a:ext uri="{FF2B5EF4-FFF2-40B4-BE49-F238E27FC236}">
                <a16:creationId xmlns:a16="http://schemas.microsoft.com/office/drawing/2014/main" id="{0ED67093-CE6E-1AB9-0F14-D548F3BCB8C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85820" y="1281722"/>
            <a:ext cx="3187919" cy="1531434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 OVER THREE LIN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BE290BE8-A450-A2EA-73AA-551D6E520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7C92092-800C-0FCD-84AB-641AC74914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3739" y="0"/>
            <a:ext cx="5490915" cy="5143500"/>
          </a:xfrm>
          <a:custGeom>
            <a:avLst/>
            <a:gdLst>
              <a:gd name="connsiteX0" fmla="*/ 161562 w 5490914"/>
              <a:gd name="connsiteY0" fmla="*/ 0 h 5143499"/>
              <a:gd name="connsiteX1" fmla="*/ 5490914 w 5490914"/>
              <a:gd name="connsiteY1" fmla="*/ 0 h 5143499"/>
              <a:gd name="connsiteX2" fmla="*/ 5490914 w 5490914"/>
              <a:gd name="connsiteY2" fmla="*/ 5143499 h 5143499"/>
              <a:gd name="connsiteX3" fmla="*/ 2162489 w 5490914"/>
              <a:gd name="connsiteY3" fmla="*/ 5143499 h 5143499"/>
              <a:gd name="connsiteX4" fmla="*/ 2049696 w 5490914"/>
              <a:gd name="connsiteY4" fmla="*/ 5071178 h 5143499"/>
              <a:gd name="connsiteX5" fmla="*/ 0 w 5490914"/>
              <a:gd name="connsiteY5" fmla="*/ 1215567 h 5143499"/>
              <a:gd name="connsiteX6" fmla="*/ 146363 w 5490914"/>
              <a:gd name="connsiteY6" fmla="*/ 53533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90914" h="5143499">
                <a:moveTo>
                  <a:pt x="161562" y="0"/>
                </a:moveTo>
                <a:lnTo>
                  <a:pt x="5490914" y="0"/>
                </a:lnTo>
                <a:lnTo>
                  <a:pt x="5490914" y="5143499"/>
                </a:lnTo>
                <a:lnTo>
                  <a:pt x="2162489" y="5143499"/>
                </a:lnTo>
                <a:lnTo>
                  <a:pt x="2049696" y="5071178"/>
                </a:lnTo>
                <a:cubicBezTo>
                  <a:pt x="813057" y="4235592"/>
                  <a:pt x="0" y="2820544"/>
                  <a:pt x="0" y="1215567"/>
                </a:cubicBezTo>
                <a:cubicBezTo>
                  <a:pt x="0" y="814323"/>
                  <a:pt x="50816" y="424949"/>
                  <a:pt x="146363" y="535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A9E15F-B849-5D82-127B-8A330618D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4959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_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6891F-4F9C-3532-9C5A-FADEFF0008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62C9C7A-EF97-6866-1806-0605129DCE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2075" y="709768"/>
            <a:ext cx="3879850" cy="3879850"/>
          </a:xfrm>
          <a:prstGeom prst="ellipse">
            <a:avLst/>
          </a:prstGeom>
          <a:solidFill>
            <a:schemeClr val="accent2">
              <a:alpha val="84780"/>
            </a:schemeClr>
          </a:solidFill>
        </p:spPr>
        <p:txBody>
          <a:bodyPr/>
          <a:lstStyle/>
          <a:p>
            <a:pPr lvl="0"/>
            <a:r>
              <a:rPr lang="en-GB" dirty="0"/>
              <a:t>  </a:t>
            </a:r>
          </a:p>
        </p:txBody>
      </p:sp>
      <p:sp>
        <p:nvSpPr>
          <p:cNvPr id="5" name="Google Shape;82;p14">
            <a:extLst>
              <a:ext uri="{FF2B5EF4-FFF2-40B4-BE49-F238E27FC236}">
                <a16:creationId xmlns:a16="http://schemas.microsoft.com/office/drawing/2014/main" id="{C9003867-13DB-C11F-65F0-E872E2565BF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632076" y="1579588"/>
            <a:ext cx="3879850" cy="1543593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6" name="Google Shape;83;p14">
            <a:extLst>
              <a:ext uri="{FF2B5EF4-FFF2-40B4-BE49-F238E27FC236}">
                <a16:creationId xmlns:a16="http://schemas.microsoft.com/office/drawing/2014/main" id="{E5C84718-3B7A-6138-E5E9-F134BD6309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59388" y="3215638"/>
            <a:ext cx="3425223" cy="13008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ECE8B17-20B2-8807-F92D-2907D44EF5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586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volutionFlow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3A55E7-17A8-46BD-D6F3-458CF00DC7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EC761E4-8013-CB3D-79AD-2158D11852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4200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volutionFlow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5C3B10-561A-730E-2031-C1202DB111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558D7DB-A5CE-AA6F-BF5D-C58636D4B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467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3">
            <a:extLst>
              <a:ext uri="{FF2B5EF4-FFF2-40B4-BE49-F238E27FC236}">
                <a16:creationId xmlns:a16="http://schemas.microsoft.com/office/drawing/2014/main" id="{DC97ED8F-169C-C978-A654-084CF5740053}"/>
              </a:ext>
            </a:extLst>
          </p:cNvPr>
          <p:cNvSpPr/>
          <p:nvPr/>
        </p:nvSpPr>
        <p:spPr>
          <a:xfrm>
            <a:off x="-1443" y="2653721"/>
            <a:ext cx="9145443" cy="1959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706">
              <a:defRPr/>
            </a:pPr>
            <a:endParaRPr lang="en-GB" sz="1983" spc="100">
              <a:solidFill>
                <a:srgbClr val="000000"/>
              </a:solidFill>
              <a:latin typeface="Impact"/>
            </a:endParaRPr>
          </a:p>
        </p:txBody>
      </p:sp>
      <p:sp>
        <p:nvSpPr>
          <p:cNvPr id="9" name="AutoShape 10" descr="Image result for gambit logo">
            <a:extLst>
              <a:ext uri="{FF2B5EF4-FFF2-40B4-BE49-F238E27FC236}">
                <a16:creationId xmlns:a16="http://schemas.microsoft.com/office/drawing/2014/main" id="{E2DDD718-485B-1339-380F-A37FD697C12D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55592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10" name="AutoShape 8" descr="Respect (2021 film) - Wikipedia">
            <a:extLst>
              <a:ext uri="{FF2B5EF4-FFF2-40B4-BE49-F238E27FC236}">
                <a16:creationId xmlns:a16="http://schemas.microsoft.com/office/drawing/2014/main" id="{42531291-363A-F23C-D7EC-5352AD0CD7D9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67484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84" name="Google Shape;27;p5">
            <a:extLst>
              <a:ext uri="{FF2B5EF4-FFF2-40B4-BE49-F238E27FC236}">
                <a16:creationId xmlns:a16="http://schemas.microsoft.com/office/drawing/2014/main" id="{C15869C8-F472-71C1-64F5-58B901666B4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906164-EEE8-9241-2C7A-08443D4A3D96}"/>
              </a:ext>
            </a:extLst>
          </p:cNvPr>
          <p:cNvSpPr txBox="1">
            <a:spLocks/>
          </p:cNvSpPr>
          <p:nvPr/>
        </p:nvSpPr>
        <p:spPr bwMode="gray">
          <a:xfrm>
            <a:off x="5494368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1C574F5-8693-4333-77F4-4FF754B380F3}"/>
              </a:ext>
            </a:extLst>
          </p:cNvPr>
          <p:cNvSpPr txBox="1">
            <a:spLocks/>
          </p:cNvSpPr>
          <p:nvPr/>
        </p:nvSpPr>
        <p:spPr bwMode="gray">
          <a:xfrm>
            <a:off x="7039383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3D7A40C-E42D-2C00-FD9D-CD9051A428FA}"/>
              </a:ext>
            </a:extLst>
          </p:cNvPr>
          <p:cNvSpPr txBox="1">
            <a:spLocks/>
          </p:cNvSpPr>
          <p:nvPr/>
        </p:nvSpPr>
        <p:spPr bwMode="gray">
          <a:xfrm>
            <a:off x="7811890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5" name="Text Placeholder 23">
            <a:extLst>
              <a:ext uri="{FF2B5EF4-FFF2-40B4-BE49-F238E27FC236}">
                <a16:creationId xmlns:a16="http://schemas.microsoft.com/office/drawing/2014/main" id="{E16D509D-0275-3680-16CA-DA11646159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5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6" name="Text Placeholder 23">
            <a:extLst>
              <a:ext uri="{FF2B5EF4-FFF2-40B4-BE49-F238E27FC236}">
                <a16:creationId xmlns:a16="http://schemas.microsoft.com/office/drawing/2014/main" id="{F287A8AC-1D42-922A-966B-AF21A49D9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2782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7" name="Text Placeholder 23">
            <a:extLst>
              <a:ext uri="{FF2B5EF4-FFF2-40B4-BE49-F238E27FC236}">
                <a16:creationId xmlns:a16="http://schemas.microsoft.com/office/drawing/2014/main" id="{FB736383-DBAA-F51E-F074-B4627A219F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2411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8" name="Text Placeholder 23">
            <a:extLst>
              <a:ext uri="{FF2B5EF4-FFF2-40B4-BE49-F238E27FC236}">
                <a16:creationId xmlns:a16="http://schemas.microsoft.com/office/drawing/2014/main" id="{40EF89A6-9219-8A27-98DE-C85831A804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2040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9" name="Text Placeholder 23">
            <a:extLst>
              <a:ext uri="{FF2B5EF4-FFF2-40B4-BE49-F238E27FC236}">
                <a16:creationId xmlns:a16="http://schemas.microsoft.com/office/drawing/2014/main" id="{C2E72AF3-A672-23FF-81A7-718D0619A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81669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0" name="Text Placeholder 23">
            <a:extLst>
              <a:ext uri="{FF2B5EF4-FFF2-40B4-BE49-F238E27FC236}">
                <a16:creationId xmlns:a16="http://schemas.microsoft.com/office/drawing/2014/main" id="{1C9A1B44-931B-0902-5E20-23ED53CF6E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1298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1" name="Text Placeholder 23">
            <a:extLst>
              <a:ext uri="{FF2B5EF4-FFF2-40B4-BE49-F238E27FC236}">
                <a16:creationId xmlns:a16="http://schemas.microsoft.com/office/drawing/2014/main" id="{A9926A95-2B66-0638-3E36-6387497F2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927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2" name="Text Placeholder 23">
            <a:extLst>
              <a:ext uri="{FF2B5EF4-FFF2-40B4-BE49-F238E27FC236}">
                <a16:creationId xmlns:a16="http://schemas.microsoft.com/office/drawing/2014/main" id="{CA8B2CFF-6C90-E4DB-7176-459EBCB73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0556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3" name="Text Placeholder 23">
            <a:extLst>
              <a:ext uri="{FF2B5EF4-FFF2-40B4-BE49-F238E27FC236}">
                <a16:creationId xmlns:a16="http://schemas.microsoft.com/office/drawing/2014/main" id="{B66615DB-7E9D-25AC-BB40-A5F3D150D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18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4" name="Text Placeholder 23">
            <a:extLst>
              <a:ext uri="{FF2B5EF4-FFF2-40B4-BE49-F238E27FC236}">
                <a16:creationId xmlns:a16="http://schemas.microsoft.com/office/drawing/2014/main" id="{6AC327DD-2121-B62C-01B9-6F6A4C5E9E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29814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5" name="Text Placeholder 23">
            <a:extLst>
              <a:ext uri="{FF2B5EF4-FFF2-40B4-BE49-F238E27FC236}">
                <a16:creationId xmlns:a16="http://schemas.microsoft.com/office/drawing/2014/main" id="{EE59F1A6-8EF2-FF5A-FFBD-54E37EB874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944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E5864829-DDD2-EFE5-BF04-1B33D7746D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907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CDB779A-7561-F309-A20E-16D9FD21D6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8364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9CF2070-6E4D-C9F1-C331-1C42B38B3107}"/>
              </a:ext>
            </a:extLst>
          </p:cNvPr>
          <p:cNvCxnSpPr/>
          <p:nvPr userDrawn="1"/>
        </p:nvCxnSpPr>
        <p:spPr>
          <a:xfrm>
            <a:off x="77821" y="1715724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32FC3C-D39F-9DA7-EB5D-BA39EC46677A}"/>
              </a:ext>
            </a:extLst>
          </p:cNvPr>
          <p:cNvCxnSpPr/>
          <p:nvPr userDrawn="1"/>
        </p:nvCxnSpPr>
        <p:spPr>
          <a:xfrm>
            <a:off x="69583" y="2753691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AAD6EDB-D9E6-3FB6-3430-0024C506E64C}"/>
              </a:ext>
            </a:extLst>
          </p:cNvPr>
          <p:cNvCxnSpPr/>
          <p:nvPr userDrawn="1"/>
        </p:nvCxnSpPr>
        <p:spPr>
          <a:xfrm>
            <a:off x="77821" y="3725756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>
            <a:extLst>
              <a:ext uri="{FF2B5EF4-FFF2-40B4-BE49-F238E27FC236}">
                <a16:creationId xmlns:a16="http://schemas.microsoft.com/office/drawing/2014/main" id="{880AEC41-3C1F-56C1-E6BB-9A10AA444C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25ABF89-8071-4E14-7AE0-BBB886FD7AC6}"/>
              </a:ext>
            </a:extLst>
          </p:cNvPr>
          <p:cNvCxnSpPr>
            <a:cxnSpLocks/>
          </p:cNvCxnSpPr>
          <p:nvPr userDrawn="1"/>
        </p:nvCxnSpPr>
        <p:spPr>
          <a:xfrm>
            <a:off x="428366" y="840259"/>
            <a:ext cx="0" cy="381411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EE8FCE2-D0B3-CC36-1DC2-5A6C02C724D0}"/>
              </a:ext>
            </a:extLst>
          </p:cNvPr>
          <p:cNvSpPr txBox="1"/>
          <p:nvPr userDrawn="1"/>
        </p:nvSpPr>
        <p:spPr>
          <a:xfrm>
            <a:off x="24824" y="77869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58A3F3-9C4C-3102-FFB9-BC4FBBD56F11}"/>
              </a:ext>
            </a:extLst>
          </p:cNvPr>
          <p:cNvSpPr txBox="1"/>
          <p:nvPr userDrawn="1"/>
        </p:nvSpPr>
        <p:spPr>
          <a:xfrm>
            <a:off x="24824" y="176723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EDD917-8ED8-E9A9-FB22-46B8FC11A58D}"/>
              </a:ext>
            </a:extLst>
          </p:cNvPr>
          <p:cNvSpPr txBox="1"/>
          <p:nvPr userDrawn="1"/>
        </p:nvSpPr>
        <p:spPr>
          <a:xfrm>
            <a:off x="24824" y="2772252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F913FA-0D71-FAD5-97C2-5BF5EB32DE46}"/>
              </a:ext>
            </a:extLst>
          </p:cNvPr>
          <p:cNvSpPr txBox="1"/>
          <p:nvPr userDrawn="1"/>
        </p:nvSpPr>
        <p:spPr>
          <a:xfrm>
            <a:off x="24824" y="3793744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4</a:t>
            </a: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D2E3A77-427D-4569-9BE9-F0AD9D5CACD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C0A369-72CA-D87C-9557-45EB4DA30D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9766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CC7781-8C3C-FBFD-C115-56501AA65571}"/>
              </a:ext>
            </a:extLst>
          </p:cNvPr>
          <p:cNvSpPr/>
          <p:nvPr userDrawn="1"/>
        </p:nvSpPr>
        <p:spPr>
          <a:xfrm>
            <a:off x="411892" y="1437133"/>
            <a:ext cx="8344930" cy="3027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EDAEFF-174E-A33B-93D8-A3B5598EF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207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197AB85E-6197-6BC7-CB7B-CC5AC9034C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4608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DC8C48E6-FD35-AB99-81F7-62592DA136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3008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37ABDFC-6542-12A9-80BF-A2EC3B84E1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09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55D02B26-6158-F256-798B-651DE2C3A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9809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1E16043C-7340-0FEE-C267-B609F82DB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09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4B7D4B57-B944-F116-49E2-B44477CF26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610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0E54559F-5512-DBD7-9FC3-C5F5B3DD2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010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5CEF15DA-A255-DAD0-FD8C-415A08FCA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411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1D7DA43-D0A4-9437-05AB-9019A3E7C3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811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849B3E9-C19C-E965-2B80-9A5E1DA92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211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A4F447B4-05DB-EFFB-0A8B-6C04CD1120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6126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755CCA1B-4F46-171C-D225-1F0BFADC1C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09CFB4A5-B9C7-4245-646D-C8EEA15C94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8734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CCA7F2E-884D-599E-54C0-2C284DF058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A2728D-6D55-19C7-FB72-DD82AF2BE908}"/>
              </a:ext>
            </a:extLst>
          </p:cNvPr>
          <p:cNvCxnSpPr>
            <a:cxnSpLocks/>
          </p:cNvCxnSpPr>
          <p:nvPr userDrawn="1"/>
        </p:nvCxnSpPr>
        <p:spPr>
          <a:xfrm>
            <a:off x="492222" y="2497608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11FB805-8807-A711-EBB7-A53C39DDB948}"/>
              </a:ext>
            </a:extLst>
          </p:cNvPr>
          <p:cNvCxnSpPr>
            <a:cxnSpLocks/>
          </p:cNvCxnSpPr>
          <p:nvPr userDrawn="1"/>
        </p:nvCxnSpPr>
        <p:spPr>
          <a:xfrm>
            <a:off x="500460" y="313192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3A289E-DC43-B599-70F5-0AE1F02E9FAB}"/>
              </a:ext>
            </a:extLst>
          </p:cNvPr>
          <p:cNvCxnSpPr>
            <a:cxnSpLocks/>
          </p:cNvCxnSpPr>
          <p:nvPr userDrawn="1"/>
        </p:nvCxnSpPr>
        <p:spPr>
          <a:xfrm>
            <a:off x="475746" y="377447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F533229-1F94-EE43-890D-95236A3FE3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349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9322815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2616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1" name="Google Shape;28;p5">
            <a:extLst>
              <a:ext uri="{FF2B5EF4-FFF2-40B4-BE49-F238E27FC236}">
                <a16:creationId xmlns:a16="http://schemas.microsoft.com/office/drawing/2014/main" id="{B23245DA-A17C-D068-10B9-10F4819073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2" name="Picture 1">
            <a:extLst>
              <a:ext uri="{FF2B5EF4-FFF2-40B4-BE49-F238E27FC236}">
                <a16:creationId xmlns:a16="http://schemas.microsoft.com/office/drawing/2014/main" id="{57FA87CD-B566-6A18-BB6D-FE1D75459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0857FA8-0E70-18D3-2E7D-64FA69676E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4382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ilm_Slate_4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12650183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3324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1CAB5304-8474-0C77-B7AD-B32F9257A8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6FB994B7-5F7B-2449-8BC0-55B261033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30C5C5-439F-478F-62F7-29B3F10A22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8637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reshow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0B81C-1F44-4CC1-F303-49732EE63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72C069-2DB4-2DEC-50B9-35602BC4677B}"/>
              </a:ext>
            </a:extLst>
          </p:cNvPr>
          <p:cNvSpPr/>
          <p:nvPr userDrawn="1"/>
        </p:nvSpPr>
        <p:spPr>
          <a:xfrm>
            <a:off x="427117" y="1583361"/>
            <a:ext cx="733686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2FE171-225D-76A0-D972-CBE81239FAE1}"/>
              </a:ext>
            </a:extLst>
          </p:cNvPr>
          <p:cNvSpPr/>
          <p:nvPr/>
        </p:nvSpPr>
        <p:spPr>
          <a:xfrm>
            <a:off x="8271416" y="1583361"/>
            <a:ext cx="552057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6C34B9-E3A1-FCBC-A784-98094F7AD939}"/>
              </a:ext>
            </a:extLst>
          </p:cNvPr>
          <p:cNvSpPr txBox="1">
            <a:spLocks/>
          </p:cNvSpPr>
          <p:nvPr/>
        </p:nvSpPr>
        <p:spPr>
          <a:xfrm>
            <a:off x="8330961" y="1680742"/>
            <a:ext cx="402864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8.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10DD227-6A80-C0F5-9AF2-513C523C8E3A}"/>
              </a:ext>
            </a:extLst>
          </p:cNvPr>
          <p:cNvSpPr txBox="1">
            <a:spLocks/>
          </p:cNvSpPr>
          <p:nvPr/>
        </p:nvSpPr>
        <p:spPr>
          <a:xfrm>
            <a:off x="524116" y="1680742"/>
            <a:ext cx="627523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1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45E43CC-7193-4E07-2CC8-2892D6A3358B}"/>
              </a:ext>
            </a:extLst>
          </p:cNvPr>
          <p:cNvCxnSpPr>
            <a:cxnSpLocks/>
          </p:cNvCxnSpPr>
          <p:nvPr/>
        </p:nvCxnSpPr>
        <p:spPr>
          <a:xfrm>
            <a:off x="548297" y="4208405"/>
            <a:ext cx="514961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EEBA045-EDE3-7AF6-3F4B-66C692776723}"/>
              </a:ext>
            </a:extLst>
          </p:cNvPr>
          <p:cNvSpPr/>
          <p:nvPr/>
        </p:nvSpPr>
        <p:spPr>
          <a:xfrm>
            <a:off x="1211613" y="1583361"/>
            <a:ext cx="177700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91A3867-2C93-297F-B384-02AD35B13E14}"/>
              </a:ext>
            </a:extLst>
          </p:cNvPr>
          <p:cNvSpPr txBox="1">
            <a:spLocks/>
          </p:cNvSpPr>
          <p:nvPr/>
        </p:nvSpPr>
        <p:spPr>
          <a:xfrm>
            <a:off x="1309427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2.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E82AE66-2DCC-7FFD-D8BE-75FF622D2804}"/>
              </a:ext>
            </a:extLst>
          </p:cNvPr>
          <p:cNvCxnSpPr>
            <a:cxnSpLocks/>
          </p:cNvCxnSpPr>
          <p:nvPr/>
        </p:nvCxnSpPr>
        <p:spPr>
          <a:xfrm>
            <a:off x="234588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8E3994E-2CAA-7E4A-8ACD-D26816340E67}"/>
              </a:ext>
            </a:extLst>
          </p:cNvPr>
          <p:cNvSpPr/>
          <p:nvPr/>
        </p:nvSpPr>
        <p:spPr>
          <a:xfrm>
            <a:off x="3034477" y="1583361"/>
            <a:ext cx="1080584" cy="2839605"/>
          </a:xfrm>
          <a:prstGeom prst="rect">
            <a:avLst/>
          </a:prstGeom>
          <a:solidFill>
            <a:srgbClr val="EB9E6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F6DFD44-744B-94C4-26D5-03BE8624C136}"/>
              </a:ext>
            </a:extLst>
          </p:cNvPr>
          <p:cNvSpPr txBox="1">
            <a:spLocks/>
          </p:cNvSpPr>
          <p:nvPr/>
        </p:nvSpPr>
        <p:spPr>
          <a:xfrm>
            <a:off x="314228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3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0835796-487C-5B6D-C345-D9E2B9A6CF33}"/>
              </a:ext>
            </a:extLst>
          </p:cNvPr>
          <p:cNvCxnSpPr>
            <a:cxnSpLocks/>
          </p:cNvCxnSpPr>
          <p:nvPr/>
        </p:nvCxnSpPr>
        <p:spPr>
          <a:xfrm>
            <a:off x="3512328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B20C6B93-6C4D-4A1D-4ED2-EC74FC333913}"/>
              </a:ext>
            </a:extLst>
          </p:cNvPr>
          <p:cNvSpPr/>
          <p:nvPr/>
        </p:nvSpPr>
        <p:spPr>
          <a:xfrm>
            <a:off x="4943497" y="1583361"/>
            <a:ext cx="1080584" cy="28396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6DD3023-4A11-4E7B-7FA1-CF25ADA0D012}"/>
              </a:ext>
            </a:extLst>
          </p:cNvPr>
          <p:cNvSpPr txBox="1">
            <a:spLocks/>
          </p:cNvSpPr>
          <p:nvPr/>
        </p:nvSpPr>
        <p:spPr>
          <a:xfrm>
            <a:off x="5034098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5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B6BB478-6F76-8E5F-F232-752FE9B1CE4D}"/>
              </a:ext>
            </a:extLst>
          </p:cNvPr>
          <p:cNvCxnSpPr>
            <a:cxnSpLocks/>
          </p:cNvCxnSpPr>
          <p:nvPr/>
        </p:nvCxnSpPr>
        <p:spPr>
          <a:xfrm>
            <a:off x="540414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4B2EC7C1-1284-EE1B-D8F6-F4025BB11A21}"/>
              </a:ext>
            </a:extLst>
          </p:cNvPr>
          <p:cNvSpPr/>
          <p:nvPr/>
        </p:nvSpPr>
        <p:spPr>
          <a:xfrm>
            <a:off x="6068306" y="1583361"/>
            <a:ext cx="103863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0FDF397A-64FE-3DA6-BCB8-E8449CE5178F}"/>
              </a:ext>
            </a:extLst>
          </p:cNvPr>
          <p:cNvSpPr txBox="1">
            <a:spLocks/>
          </p:cNvSpPr>
          <p:nvPr/>
        </p:nvSpPr>
        <p:spPr>
          <a:xfrm>
            <a:off x="6161003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6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57A6B7-607C-FBFC-12A4-347AAAD9C837}"/>
              </a:ext>
            </a:extLst>
          </p:cNvPr>
          <p:cNvCxnSpPr>
            <a:cxnSpLocks/>
          </p:cNvCxnSpPr>
          <p:nvPr/>
        </p:nvCxnSpPr>
        <p:spPr>
          <a:xfrm>
            <a:off x="647680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4DE001C-0F57-09D3-2714-ECE4B143F60A}"/>
              </a:ext>
            </a:extLst>
          </p:cNvPr>
          <p:cNvSpPr/>
          <p:nvPr/>
        </p:nvSpPr>
        <p:spPr>
          <a:xfrm>
            <a:off x="7148889" y="1583361"/>
            <a:ext cx="1080584" cy="2839605"/>
          </a:xfrm>
          <a:prstGeom prst="rect">
            <a:avLst/>
          </a:prstGeom>
          <a:solidFill>
            <a:srgbClr val="D7BB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E8D3FDFE-4844-C855-6E6A-899A027DA528}"/>
              </a:ext>
            </a:extLst>
          </p:cNvPr>
          <p:cNvSpPr txBox="1">
            <a:spLocks/>
          </p:cNvSpPr>
          <p:nvPr/>
        </p:nvSpPr>
        <p:spPr>
          <a:xfrm>
            <a:off x="7250379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7.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9730A3-48FE-3689-632C-405D7DD08502}"/>
              </a:ext>
            </a:extLst>
          </p:cNvPr>
          <p:cNvCxnSpPr>
            <a:cxnSpLocks/>
          </p:cNvCxnSpPr>
          <p:nvPr/>
        </p:nvCxnSpPr>
        <p:spPr>
          <a:xfrm>
            <a:off x="7620421" y="42470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3DC0005B-C45D-653E-B5E7-EFCC53BC2FD2}"/>
              </a:ext>
            </a:extLst>
          </p:cNvPr>
          <p:cNvSpPr/>
          <p:nvPr/>
        </p:nvSpPr>
        <p:spPr>
          <a:xfrm>
            <a:off x="4152319" y="1583361"/>
            <a:ext cx="746954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A4B9041-F4C4-5C8D-A20B-551B387ABF97}"/>
              </a:ext>
            </a:extLst>
          </p:cNvPr>
          <p:cNvSpPr txBox="1">
            <a:spLocks/>
          </p:cNvSpPr>
          <p:nvPr/>
        </p:nvSpPr>
        <p:spPr>
          <a:xfrm>
            <a:off x="424501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4.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E655F98-A181-1ED9-09AE-1F73B4764335}"/>
              </a:ext>
            </a:extLst>
          </p:cNvPr>
          <p:cNvCxnSpPr>
            <a:cxnSpLocks/>
          </p:cNvCxnSpPr>
          <p:nvPr/>
        </p:nvCxnSpPr>
        <p:spPr>
          <a:xfrm>
            <a:off x="428511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28;p5">
            <a:extLst>
              <a:ext uri="{FF2B5EF4-FFF2-40B4-BE49-F238E27FC236}">
                <a16:creationId xmlns:a16="http://schemas.microsoft.com/office/drawing/2014/main" id="{D5C51294-437B-0792-E8A7-948530C033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8D2762C4-841D-08E3-7EF2-6B77D7DA30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9623E8-5FD7-2184-D43A-44EEC8E716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247A8A3-792B-A942-F23D-2B1BB7F8A8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3238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63565174-E9A4-F9E6-278D-29F52D52D8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01097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A1473935-92A9-52C1-CB72-A587BBA95E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8861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0E5C7060-1140-0B27-401E-9F72F9B8A4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23590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3555575D-D003-8753-1659-D4B375CCA6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12484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C0CC493A-544B-2B3E-2A2C-9B0CD7950D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68931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EC890F8C-A86D-DA26-AED2-838CB17BE9C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53660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4A1645FB-6830-6061-019A-C87783540E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29425" y="2375928"/>
            <a:ext cx="494048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649439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91A6D251-CB41-565E-C5D3-DF0F2E0BDF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488" y="1425844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1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E5748CDC-55D2-2D18-D8F1-25BAACDC53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488" y="1921790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2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B33F82F8-460F-E0A6-FA4D-12E11B4338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488" y="241773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3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1D8CE564-93A6-D868-C4AD-254610243A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8" y="2929181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4</a:t>
            </a: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507B6D7A-3D2F-17D8-67DC-DCF7CFA69B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488" y="343287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5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F3C76AFC-2F91-D358-76BE-920753889B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8" y="3952069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6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45592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0" name="Picture 1">
            <a:extLst>
              <a:ext uri="{FF2B5EF4-FFF2-40B4-BE49-F238E27FC236}">
                <a16:creationId xmlns:a16="http://schemas.microsoft.com/office/drawing/2014/main" id="{8C1B578B-1221-A8D6-FFFD-B2A2A48D1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E51BB84-2F0D-ADCC-3FB0-69500052BA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129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theme" Target="../theme/theme13.xml"/><Relationship Id="rId30" Type="http://schemas.openxmlformats.org/officeDocument/2006/relationships/image" Target="../media/image1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2089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4155" r:id="rId5"/>
    <p:sldLayoutId id="2147484154" r:id="rId6"/>
    <p:sldLayoutId id="2147483918" r:id="rId7"/>
    <p:sldLayoutId id="2147483919" r:id="rId8"/>
    <p:sldLayoutId id="2147483920" r:id="rId9"/>
    <p:sldLayoutId id="2147483921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6557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4004" r:id="rId4"/>
    <p:sldLayoutId id="2147484005" r:id="rId5"/>
    <p:sldLayoutId id="2147484006" r:id="rId6"/>
    <p:sldLayoutId id="2147484007" r:id="rId7"/>
    <p:sldLayoutId id="214748381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107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1" r:id="rId3"/>
    <p:sldLayoutId id="2147484000" r:id="rId4"/>
    <p:sldLayoutId id="2147484002" r:id="rId5"/>
    <p:sldLayoutId id="214748400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5916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73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91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28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5" r:id="rId3"/>
    <p:sldLayoutId id="2147483924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0643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839" r:id="rId3"/>
    <p:sldLayoutId id="2147483910" r:id="rId4"/>
    <p:sldLayoutId id="2147483891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223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34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5130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66" r:id="rId12"/>
    <p:sldLayoutId id="2147484167" r:id="rId13"/>
    <p:sldLayoutId id="2147484168" r:id="rId14"/>
    <p:sldLayoutId id="2147484147" r:id="rId15"/>
    <p:sldLayoutId id="2147484148" r:id="rId16"/>
    <p:sldLayoutId id="2147484149" r:id="rId17"/>
    <p:sldLayoutId id="2147484152" r:id="rId18"/>
    <p:sldLayoutId id="2147484150" r:id="rId19"/>
    <p:sldLayoutId id="2147484151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13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97623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9" r:id="rId7"/>
    <p:sldLayoutId id="2147484156" r:id="rId8"/>
    <p:sldLayoutId id="2147483971" r:id="rId9"/>
    <p:sldLayoutId id="2147483975" r:id="rId10"/>
    <p:sldLayoutId id="2147483974" r:id="rId11"/>
    <p:sldLayoutId id="2147483972" r:id="rId12"/>
    <p:sldLayoutId id="2147484157" r:id="rId13"/>
    <p:sldLayoutId id="2147484158" r:id="rId14"/>
    <p:sldLayoutId id="2147484159" r:id="rId15"/>
    <p:sldLayoutId id="214748416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036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4162" r:id="rId3"/>
    <p:sldLayoutId id="2147483883" r:id="rId4"/>
    <p:sldLayoutId id="2147484163" r:id="rId5"/>
    <p:sldLayoutId id="2147483978" r:id="rId6"/>
    <p:sldLayoutId id="2147483979" r:id="rId7"/>
    <p:sldLayoutId id="2147483980" r:id="rId8"/>
    <p:sldLayoutId id="2147483982" r:id="rId9"/>
    <p:sldLayoutId id="2147484164" r:id="rId10"/>
    <p:sldLayoutId id="2147483983" r:id="rId11"/>
    <p:sldLayoutId id="2147484165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91068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53" r:id="rId1"/>
    <p:sldLayoutId id="2147483989" r:id="rId2"/>
    <p:sldLayoutId id="2147483990" r:id="rId3"/>
    <p:sldLayoutId id="2147483991" r:id="rId4"/>
    <p:sldLayoutId id="2147483992" r:id="rId5"/>
    <p:sldLayoutId id="2147484170" r:id="rId6"/>
    <p:sldLayoutId id="2147483993" r:id="rId7"/>
    <p:sldLayoutId id="2147483994" r:id="rId8"/>
    <p:sldLayoutId id="2147484169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856F360-99B7-FB77-FEB9-650F77941F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3762" y="2597392"/>
            <a:ext cx="2862848" cy="21872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89AFD27-FC43-33BD-C2B3-7605DE9084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3763" y="260125"/>
            <a:ext cx="2862848" cy="2184351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B245E6-6400-4598-9591-4ABCE5DEB00E}"/>
              </a:ext>
            </a:extLst>
          </p:cNvPr>
          <p:cNvSpPr txBox="1">
            <a:spLocks/>
          </p:cNvSpPr>
          <p:nvPr/>
        </p:nvSpPr>
        <p:spPr bwMode="gray">
          <a:xfrm>
            <a:off x="439139" y="1180350"/>
            <a:ext cx="4906963" cy="3555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ground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Arial"/>
              </a:rPr>
              <a:t>Age UK set out to spark a bold national conversation: “Let’s change how we age.” with the goal of reframing perceptions of ageing, building emotional resonance, and inspiring action.</a:t>
            </a: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sz="1400" b="0" dirty="0">
                <a:solidFill>
                  <a:srgbClr val="000000"/>
                </a:solidFill>
                <a:latin typeface="Arial"/>
              </a:rPr>
              <a:t>Age UK ran in relevant premium films after identifying cinema as the ideal platform to support a campaign designed to challenge mindsets, elevate societal perceptions and spark reflection.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endParaRPr lang="en-GB" sz="1400" dirty="0">
              <a:solidFill>
                <a:schemeClr val="tx1"/>
              </a:solidFill>
              <a:latin typeface="Arial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kumimoji="0" lang="en-GB" sz="14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 UK achieved its highest ever semi-prompted awareness at 43%. </a:t>
            </a: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kumimoji="0" lang="en-GB" sz="14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ampaign helped prime audiences for action, contributing to a 204% uplift in CRM donations.</a:t>
            </a: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lang="en-GB" sz="1400" b="0" dirty="0">
              <a:solidFill>
                <a:srgbClr val="000000"/>
              </a:solidFill>
              <a:latin typeface="Arial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lang="en-GB" sz="1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5B3435FC-2A98-9E14-E8FE-D76480E15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50" y="267916"/>
            <a:ext cx="5393631" cy="498360"/>
          </a:xfrm>
        </p:spPr>
        <p:txBody>
          <a:bodyPr/>
          <a:lstStyle/>
          <a:p>
            <a:r>
              <a:rPr lang="en-US" dirty="0"/>
              <a:t>AGE UK</a:t>
            </a:r>
            <a:endParaRPr lang="en-GB" dirty="0"/>
          </a:p>
        </p:txBody>
      </p:sp>
      <p:sp>
        <p:nvSpPr>
          <p:cNvPr id="13" name="Text Placeholder 29">
            <a:extLst>
              <a:ext uri="{FF2B5EF4-FFF2-40B4-BE49-F238E27FC236}">
                <a16:creationId xmlns:a16="http://schemas.microsoft.com/office/drawing/2014/main" id="{550A7954-F42A-E7A9-9373-C70804C19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9139" y="681990"/>
            <a:ext cx="2913661" cy="297262"/>
          </a:xfrm>
        </p:spPr>
        <p:txBody>
          <a:bodyPr/>
          <a:lstStyle/>
          <a:p>
            <a:r>
              <a:rPr lang="en-GB" sz="1000" b="1" dirty="0"/>
              <a:t>‘Let's Change How We Age’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6EFFDE-F538-433E-8FE2-E3BD9A3DE543}"/>
              </a:ext>
            </a:extLst>
          </p:cNvPr>
          <p:cNvSpPr txBox="1"/>
          <p:nvPr/>
        </p:nvSpPr>
        <p:spPr>
          <a:xfrm rot="2118996">
            <a:off x="7282660" y="273689"/>
            <a:ext cx="2500297" cy="338554"/>
          </a:xfrm>
          <a:custGeom>
            <a:avLst/>
            <a:gdLst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0 w 3511913"/>
              <a:gd name="connsiteY5" fmla="*/ 0 h 415498"/>
              <a:gd name="connsiteX0" fmla="*/ 264507 w 3511913"/>
              <a:gd name="connsiteY0" fmla="*/ 225057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5057 h 415498"/>
              <a:gd name="connsiteX1" fmla="*/ 567733 w 3511913"/>
              <a:gd name="connsiteY1" fmla="*/ 12260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511913 w 3511913"/>
              <a:gd name="connsiteY3" fmla="*/ 944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344899 w 3511913"/>
              <a:gd name="connsiteY3" fmla="*/ 168880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1913" h="416442">
                <a:moveTo>
                  <a:pt x="264507" y="226001"/>
                </a:moveTo>
                <a:lnTo>
                  <a:pt x="567733" y="13204"/>
                </a:lnTo>
                <a:lnTo>
                  <a:pt x="3219874" y="0"/>
                </a:lnTo>
                <a:lnTo>
                  <a:pt x="3344899" y="168880"/>
                </a:lnTo>
                <a:lnTo>
                  <a:pt x="3511913" y="416442"/>
                </a:lnTo>
                <a:lnTo>
                  <a:pt x="0" y="416442"/>
                </a:lnTo>
                <a:lnTo>
                  <a:pt x="264507" y="226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NOMINEE</a:t>
            </a:r>
          </a:p>
          <a:p>
            <a:pPr algn="ctr" defTabSz="654246">
              <a:buClrTx/>
            </a:pPr>
            <a:r>
              <a:rPr lang="en-GB" sz="800" dirty="0">
                <a:solidFill>
                  <a:srgbClr val="FFFFFF"/>
                </a:solidFill>
              </a:rPr>
              <a:t>Best 'Marketing for Good'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7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C75028-01D6-79FE-6333-990F0D7706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0326" y="2373466"/>
            <a:ext cx="1398639" cy="10685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2BA9FAB-3D48-1841-5CFC-FE0D26A77C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9939" y="1209112"/>
            <a:ext cx="1398639" cy="1067160"/>
          </a:xfrm>
          <a:prstGeom prst="rect">
            <a:avLst/>
          </a:prstGeom>
        </p:spPr>
      </p:pic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20C1144A-07F5-41FD-8D37-4E8BB8F92428}"/>
              </a:ext>
            </a:extLst>
          </p:cNvPr>
          <p:cNvSpPr txBox="1">
            <a:spLocks/>
          </p:cNvSpPr>
          <p:nvPr/>
        </p:nvSpPr>
        <p:spPr bwMode="gray">
          <a:xfrm>
            <a:off x="341649" y="1082313"/>
            <a:ext cx="3815304" cy="329560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alt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CKGROUND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ge UK set out to spark a bold national conversation: “Let’s change how we age.” with the goal of reframing perceptions of ageing, building emotional resonance, and inspiring action.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endParaRPr lang="en-GB" altLang="en-US" sz="12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AN</a:t>
            </a:r>
          </a:p>
          <a:p>
            <a:pPr defTabSz="654246">
              <a:lnSpc>
                <a:spcPct val="100000"/>
              </a:lnSpc>
            </a:pPr>
            <a:r>
              <a:rPr lang="en-GB" sz="1200" b="0" dirty="0">
                <a:solidFill>
                  <a:srgbClr val="000000"/>
                </a:solidFill>
                <a:latin typeface="Arial"/>
              </a:rPr>
              <a:t>Age UK wanted a premium, culturally resonant space to deliver its 30” emotionally powerful creative copy in. Cinema was ideal platform to support a campaign designed to challenge mindsets, elevate societal perceptions and spark reflection.</a:t>
            </a:r>
          </a:p>
          <a:p>
            <a:pPr defTabSz="654246">
              <a:lnSpc>
                <a:spcPct val="100000"/>
              </a:lnSpc>
            </a:pPr>
            <a:endParaRPr lang="en-GB" sz="1200" b="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r>
              <a:rPr lang="en-GB" sz="1200" b="0" dirty="0">
                <a:solidFill>
                  <a:srgbClr val="000000"/>
                </a:solidFill>
                <a:latin typeface="Arial"/>
              </a:rPr>
              <a:t>The Age UK ad ran in relevant, quality films (</a:t>
            </a:r>
            <a:r>
              <a:rPr lang="en-GB" sz="1200" b="0" i="1" dirty="0">
                <a:solidFill>
                  <a:srgbClr val="000000"/>
                </a:solidFill>
              </a:rPr>
              <a:t>Paddington in Peru, Small Things Like These </a:t>
            </a:r>
            <a:r>
              <a:rPr lang="en-GB" sz="1200" b="0" dirty="0">
                <a:solidFill>
                  <a:srgbClr val="000000"/>
                </a:solidFill>
              </a:rPr>
              <a:t>and</a:t>
            </a:r>
            <a:r>
              <a:rPr lang="en-GB" sz="1200" b="0" i="1" dirty="0">
                <a:solidFill>
                  <a:srgbClr val="000000"/>
                </a:solidFill>
              </a:rPr>
              <a:t> </a:t>
            </a:r>
            <a:r>
              <a:rPr lang="en-GB" sz="1200" b="0" i="1" dirty="0" err="1">
                <a:solidFill>
                  <a:srgbClr val="000000"/>
                </a:solidFill>
              </a:rPr>
              <a:t>Anora</a:t>
            </a:r>
            <a:r>
              <a:rPr lang="en-GB" sz="1200" b="0" dirty="0">
                <a:solidFill>
                  <a:srgbClr val="000000"/>
                </a:solidFill>
              </a:rPr>
              <a:t>)</a:t>
            </a:r>
            <a:r>
              <a:rPr lang="en-GB" sz="1200" b="0" dirty="0">
                <a:solidFill>
                  <a:srgbClr val="000000"/>
                </a:solidFill>
                <a:latin typeface="Arial"/>
              </a:rPr>
              <a:t> and was complemented by digital and OOH to add further scale. In addition to the cinema campaign, Age UK also ran across TV, BVOD, YouTube. </a:t>
            </a:r>
          </a:p>
          <a:p>
            <a:pPr defTabSz="654246">
              <a:lnSpc>
                <a:spcPct val="100000"/>
              </a:lnSpc>
            </a:pPr>
            <a:endParaRPr lang="en-GB" sz="120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endParaRPr lang="en-GB" sz="1200" b="0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4CA43349-C0D2-4A85-B600-5FF18BDFB333}"/>
              </a:ext>
            </a:extLst>
          </p:cNvPr>
          <p:cNvSpPr txBox="1">
            <a:spLocks/>
          </p:cNvSpPr>
          <p:nvPr/>
        </p:nvSpPr>
        <p:spPr bwMode="gray">
          <a:xfrm>
            <a:off x="5765259" y="1211744"/>
            <a:ext cx="2911812" cy="258896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sz="1170" dirty="0">
                <a:solidFill>
                  <a:srgbClr val="000000"/>
                </a:solidFill>
                <a:latin typeface="Arial"/>
              </a:rPr>
              <a:t>RESULTS</a:t>
            </a:r>
          </a:p>
          <a:p>
            <a:pPr defTabSz="654246">
              <a:lnSpc>
                <a:spcPct val="100000"/>
              </a:lnSpc>
            </a:pPr>
            <a:r>
              <a:rPr lang="en-GB" sz="1170" b="0" dirty="0">
                <a:solidFill>
                  <a:srgbClr val="000000"/>
                </a:solidFill>
                <a:latin typeface="Arial"/>
              </a:rPr>
              <a:t>Cinema was pivotal in amplifying the emotional weight of the Age UK campaign, extending reach in a premium setting, and shifting perception and behaviours.</a:t>
            </a:r>
          </a:p>
          <a:p>
            <a:pPr defTabSz="654246">
              <a:lnSpc>
                <a:spcPct val="100000"/>
              </a:lnSpc>
            </a:pPr>
            <a:endParaRPr lang="en-GB" sz="117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r>
              <a:rPr lang="en-GB" sz="1170" dirty="0">
                <a:solidFill>
                  <a:srgbClr val="000000"/>
                </a:solidFill>
                <a:latin typeface="Arial"/>
              </a:rPr>
              <a:t>BOOSTED AWARENESS</a:t>
            </a:r>
          </a:p>
          <a:p>
            <a:pPr defTabSz="654246">
              <a:lnSpc>
                <a:spcPct val="100000"/>
              </a:lnSpc>
            </a:pPr>
            <a:r>
              <a:rPr lang="en-GB" sz="1170" b="0" dirty="0">
                <a:solidFill>
                  <a:srgbClr val="000000"/>
                </a:solidFill>
                <a:latin typeface="Arial"/>
              </a:rPr>
              <a:t>Age UK achieved its highest ever semi-prompted awareness at 43%.</a:t>
            </a:r>
          </a:p>
          <a:p>
            <a:pPr defTabSz="654246">
              <a:lnSpc>
                <a:spcPct val="100000"/>
              </a:lnSpc>
            </a:pPr>
            <a:endParaRPr lang="en-GB" sz="1170" b="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r>
              <a:rPr lang="en-GB" sz="1170" dirty="0">
                <a:solidFill>
                  <a:srgbClr val="000000"/>
                </a:solidFill>
                <a:latin typeface="Arial"/>
              </a:rPr>
              <a:t>EMOTIONAL ENGAGEMENT SPIKED</a:t>
            </a:r>
          </a:p>
          <a:p>
            <a:pPr defTabSz="654246">
              <a:lnSpc>
                <a:spcPct val="100000"/>
              </a:lnSpc>
            </a:pPr>
            <a:r>
              <a:rPr lang="en-GB" sz="1170" b="0" dirty="0">
                <a:solidFill>
                  <a:srgbClr val="000000"/>
                </a:solidFill>
                <a:latin typeface="Arial"/>
              </a:rPr>
              <a:t>Record scores were seen for agreement in “a cause I believe in” outperforming competitor charities.</a:t>
            </a:r>
          </a:p>
          <a:p>
            <a:pPr defTabSz="654246">
              <a:lnSpc>
                <a:spcPct val="100000"/>
              </a:lnSpc>
            </a:pPr>
            <a:endParaRPr lang="en-GB" sz="117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r>
              <a:rPr lang="en-GB" sz="1170" dirty="0">
                <a:solidFill>
                  <a:srgbClr val="000000"/>
                </a:solidFill>
                <a:latin typeface="Arial"/>
              </a:rPr>
              <a:t>BOOSTED DONATIONS &amp; ACTION</a:t>
            </a:r>
          </a:p>
          <a:p>
            <a:pPr defTabSz="654246">
              <a:lnSpc>
                <a:spcPct val="100000"/>
              </a:lnSpc>
            </a:pPr>
            <a:r>
              <a:rPr lang="en-GB" sz="1170" b="0" dirty="0">
                <a:solidFill>
                  <a:srgbClr val="000000"/>
                </a:solidFill>
                <a:latin typeface="Arial"/>
              </a:rPr>
              <a:t>The campaign helped prime audiences for action, contributing to a 204% uplift in CRM donations.</a:t>
            </a:r>
          </a:p>
        </p:txBody>
      </p:sp>
      <p:sp>
        <p:nvSpPr>
          <p:cNvPr id="9" name="Title 11">
            <a:extLst>
              <a:ext uri="{FF2B5EF4-FFF2-40B4-BE49-F238E27FC236}">
                <a16:creationId xmlns:a16="http://schemas.microsoft.com/office/drawing/2014/main" id="{AD30362F-7657-3270-AE47-FE2488AED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50" y="267916"/>
            <a:ext cx="4187401" cy="498360"/>
          </a:xfrm>
        </p:spPr>
        <p:txBody>
          <a:bodyPr/>
          <a:lstStyle/>
          <a:p>
            <a:r>
              <a:rPr lang="en-US" dirty="0"/>
              <a:t>AGE UK</a:t>
            </a:r>
            <a:endParaRPr lang="en-GB" dirty="0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E671F659-E4E0-88CE-DE31-0BEE08E6C669}"/>
              </a:ext>
            </a:extLst>
          </p:cNvPr>
          <p:cNvSpPr txBox="1">
            <a:spLocks/>
          </p:cNvSpPr>
          <p:nvPr/>
        </p:nvSpPr>
        <p:spPr>
          <a:xfrm>
            <a:off x="439139" y="681990"/>
            <a:ext cx="2262051" cy="297262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400" marR="0" lvl="1" indent="-31750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000" b="1"/>
              <a:t>‘Let's Change How We Age’</a:t>
            </a:r>
            <a:endParaRPr lang="en-GB" sz="1000" b="1" dirty="0"/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B5678281-5A87-4144-90E9-45CF10847C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463661"/>
              </p:ext>
            </p:extLst>
          </p:nvPr>
        </p:nvGraphicFramePr>
        <p:xfrm>
          <a:off x="4215319" y="561872"/>
          <a:ext cx="4422844" cy="421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711">
                  <a:extLst>
                    <a:ext uri="{9D8B030D-6E8A-4147-A177-3AD203B41FA5}">
                      <a16:colId xmlns:a16="http://schemas.microsoft.com/office/drawing/2014/main" val="773333172"/>
                    </a:ext>
                  </a:extLst>
                </a:gridCol>
                <a:gridCol w="1105711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105711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105711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196494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ING ROUTE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2474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GOMD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s 16+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lm Packs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”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58A4AFC-7742-43B3-800F-AE0AD39272F5}"/>
              </a:ext>
            </a:extLst>
          </p:cNvPr>
          <p:cNvSpPr txBox="1"/>
          <p:nvPr/>
        </p:nvSpPr>
        <p:spPr>
          <a:xfrm>
            <a:off x="6140549" y="0"/>
            <a:ext cx="3003452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NOMINEE: </a:t>
            </a:r>
            <a:r>
              <a:rPr lang="en-GB" sz="800" kern="1200" dirty="0">
                <a:solidFill>
                  <a:srgbClr val="FFFFFF"/>
                </a:solidFill>
                <a:ea typeface="+mn-ea"/>
                <a:cs typeface="+mn-cs"/>
              </a:rPr>
              <a:t>Best </a:t>
            </a:r>
            <a:r>
              <a:rPr lang="en-GB" sz="800" dirty="0">
                <a:solidFill>
                  <a:srgbClr val="FFFFFF"/>
                </a:solidFill>
              </a:rPr>
              <a:t>'Marketing for Good'</a:t>
            </a:r>
            <a:endParaRPr lang="en-GB" sz="80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DBBCF82-FD7B-E6AA-C17F-EFA1963ECE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15" b="14192"/>
          <a:stretch/>
        </p:blipFill>
        <p:spPr bwMode="auto">
          <a:xfrm>
            <a:off x="4222403" y="3557836"/>
            <a:ext cx="1413156" cy="1059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pen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C67297B3-AD6E-439A-8263-08828E1BB607}"/>
    </a:ext>
  </a:extLst>
</a:theme>
</file>

<file path=ppt/theme/theme10.xml><?xml version="1.0" encoding="utf-8"?>
<a:theme xmlns:a="http://schemas.openxmlformats.org/drawingml/2006/main" name="10_Timelines&amp;Schedul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691C09-1300-4D1D-A636-F81A171A4F59}"/>
    </a:ext>
  </a:extLst>
</a:theme>
</file>

<file path=ppt/theme/theme11.xml><?xml version="1.0" encoding="utf-8"?>
<a:theme xmlns:a="http://schemas.openxmlformats.org/drawingml/2006/main" name="11_Graphs&amp;Char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5B65D8B2-4214-4C57-BBDC-5D3600FA9ABD}"/>
    </a:ext>
  </a:extLst>
</a:theme>
</file>

<file path=ppt/theme/theme12.xml><?xml version="1.0" encoding="utf-8"?>
<a:theme xmlns:a="http://schemas.openxmlformats.org/drawingml/2006/main" name="13_UsefulIcon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C543689-69E0-400B-A834-F17612D637AA}"/>
    </a:ext>
  </a:extLst>
</a:theme>
</file>

<file path=ppt/theme/theme13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1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Presentation_Intr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F4A2120-E8F8-4D50-97B1-E143B4EF7B36}"/>
    </a:ext>
  </a:extLst>
</a:theme>
</file>

<file path=ppt/theme/theme3.xml><?xml version="1.0" encoding="utf-8"?>
<a:theme xmlns:a="http://schemas.openxmlformats.org/drawingml/2006/main" name="3_LargeStats/Quo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FEE1A70-4994-4F15-9708-3B5E5C8BDD65}"/>
    </a:ext>
  </a:extLst>
</a:theme>
</file>

<file path=ppt/theme/theme4.xml><?xml version="1.0" encoding="utf-8"?>
<a:theme xmlns:a="http://schemas.openxmlformats.org/drawingml/2006/main" name="4_Main_Text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816E6F6A-E658-46DF-96B1-F66A3141D1C5}"/>
    </a:ext>
  </a:extLst>
</a:theme>
</file>

<file path=ppt/theme/theme5.xml><?xml version="1.0" encoding="utf-8"?>
<a:theme xmlns:a="http://schemas.openxmlformats.org/drawingml/2006/main" name="6_Images&amp;Post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5B88537-A6E7-443A-8E9B-C6EBCE3A2BCC}"/>
    </a:ext>
  </a:extLst>
</a:theme>
</file>

<file path=ppt/theme/theme6.xml><?xml version="1.0" encoding="utf-8"?>
<a:theme xmlns:a="http://schemas.openxmlformats.org/drawingml/2006/main" name="6_Quotes_Imag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40663D77-DFE1-4F27-823E-347DCF9D8B4B}"/>
    </a:ext>
  </a:extLst>
</a:theme>
</file>

<file path=ppt/theme/theme7.xml><?xml version="1.0" encoding="utf-8"?>
<a:theme xmlns:a="http://schemas.openxmlformats.org/drawingml/2006/main" name="7_Icons&amp;Log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59EDAD-2EA8-4DAE-97F5-B1D219BB15CD}"/>
    </a:ext>
  </a:extLst>
</a:theme>
</file>

<file path=ppt/theme/theme8.xml><?xml version="1.0" encoding="utf-8"?>
<a:theme xmlns:a="http://schemas.openxmlformats.org/drawingml/2006/main" name="8_Sta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2DD3E28-018E-40CA-AFE2-59C6CE330011}"/>
    </a:ext>
  </a:extLst>
</a:theme>
</file>

<file path=ppt/theme/theme9.xml><?xml version="1.0" encoding="utf-8"?>
<a:theme xmlns:a="http://schemas.openxmlformats.org/drawingml/2006/main" name="9_Film_Sla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8E434B4-1D03-45B1-A34B-3B21EE176F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40</TotalTime>
  <Words>372</Words>
  <Application>Microsoft Office PowerPoint</Application>
  <PresentationFormat>On-screen Show (16:9)</PresentationFormat>
  <Paragraphs>4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3" baseType="lpstr">
      <vt:lpstr>Arial</vt:lpstr>
      <vt:lpstr>Impact</vt:lpstr>
      <vt:lpstr>Poppins</vt:lpstr>
      <vt:lpstr>Steelfish Rg</vt:lpstr>
      <vt:lpstr>Symbol</vt:lpstr>
      <vt:lpstr>System Font Regular</vt:lpstr>
      <vt:lpstr>Wingdings</vt:lpstr>
      <vt:lpstr>1_Openers</vt:lpstr>
      <vt:lpstr>2_Presentation_Intros</vt:lpstr>
      <vt:lpstr>3_LargeStats/Quotes</vt:lpstr>
      <vt:lpstr>4_Main_Text</vt:lpstr>
      <vt:lpstr>6_Images&amp;Posters</vt:lpstr>
      <vt:lpstr>6_Quotes_Images</vt:lpstr>
      <vt:lpstr>7_Icons&amp;Logos</vt:lpstr>
      <vt:lpstr>8_Stats</vt:lpstr>
      <vt:lpstr>9_Film_Slates</vt:lpstr>
      <vt:lpstr>10_Timelines&amp;Schedules</vt:lpstr>
      <vt:lpstr>11_Graphs&amp;Charts</vt:lpstr>
      <vt:lpstr>13_UsefulIcons</vt:lpstr>
      <vt:lpstr>Image Slides</vt:lpstr>
      <vt:lpstr>think-cell Slide</vt:lpstr>
      <vt:lpstr>AGE UK</vt:lpstr>
      <vt:lpstr>AGE U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X</dc:title>
  <dc:creator>Michael Tull</dc:creator>
  <cp:lastModifiedBy>Emily Ezekiel</cp:lastModifiedBy>
  <cp:revision>16</cp:revision>
  <dcterms:created xsi:type="dcterms:W3CDTF">2025-06-03T11:32:07Z</dcterms:created>
  <dcterms:modified xsi:type="dcterms:W3CDTF">2025-09-05T13:24:19Z</dcterms:modified>
</cp:coreProperties>
</file>